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5.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omments/modernComment_7FFFCFC6_3FA750C2.xml" ContentType="application/vnd.ms-powerpoint.comments+xml"/>
  <Override PartName="/ppt/tags/tag29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4.xml" ContentType="application/vnd.openxmlformats-officedocument.presentationml.tags+xml"/>
  <Override PartName="/ppt/notesSlides/notesSlide4.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5.xml" ContentType="application/vnd.openxmlformats-officedocument.presentationml.notesSlide+xml"/>
  <Override PartName="/ppt/tags/tag298.xml" ContentType="application/vnd.openxmlformats-officedocument.presentationml.tags+xml"/>
  <Override PartName="/ppt/notesSlides/notesSlide6.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8.xml" ContentType="application/vnd.openxmlformats-officedocument.presentationml.notesSlide+xml"/>
  <Override PartName="/ppt/tags/tag306.xml" ContentType="application/vnd.openxmlformats-officedocument.presentationml.tags+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Ex2.xml" ContentType="application/vnd.ms-office.chartex+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charts/chartEx4.xml" ContentType="application/vnd.ms-office.chartex+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Ex5.xml" ContentType="application/vnd.ms-office.chartex+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6.xml" ContentType="application/vnd.openxmlformats-officedocument.drawingml.chartshapes+xml"/>
  <Override PartName="/ppt/charts/chartEx6.xml" ContentType="application/vnd.ms-office.chartex+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7.xml" ContentType="application/vnd.openxmlformats-officedocument.drawingml.chartshapes+xml"/>
  <Override PartName="/ppt/charts/chartEx7.xml" ContentType="application/vnd.ms-office.chartex+xml"/>
  <Override PartName="/ppt/charts/style14.xml" ContentType="application/vnd.ms-office.chartstyle+xml"/>
  <Override PartName="/ppt/charts/colors14.xml" ContentType="application/vnd.ms-office.chartcolorstyl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8.xml" ContentType="application/vnd.openxmlformats-officedocument.drawingml.chartshapes+xml"/>
  <Override PartName="/ppt/charts/chartEx8.xml" ContentType="application/vnd.ms-office.chartex+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9.xml" ContentType="application/vnd.openxmlformats-officedocument.drawingml.chartshapes+xml"/>
  <Override PartName="/ppt/charts/chartEx9.xml" ContentType="application/vnd.ms-office.chartex+xml"/>
  <Override PartName="/ppt/charts/style18.xml" ContentType="application/vnd.ms-office.chartstyle+xml"/>
  <Override PartName="/ppt/charts/colors18.xml" ContentType="application/vnd.ms-office.chartcolorstyle+xml"/>
  <Override PartName="/ppt/charts/chart16.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0.xml" ContentType="application/vnd.openxmlformats-officedocument.drawingml.chartshapes+xml"/>
  <Override PartName="/ppt/charts/chartEx10.xml" ContentType="application/vnd.ms-office.chartex+xml"/>
  <Override PartName="/ppt/charts/style20.xml" ContentType="application/vnd.ms-office.chartstyle+xml"/>
  <Override PartName="/ppt/charts/colors20.xml" ContentType="application/vnd.ms-office.chartcolorstyle+xml"/>
  <Override PartName="/ppt/charts/chart17.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11.xml" ContentType="application/vnd.openxmlformats-officedocument.drawingml.chartshapes+xml"/>
  <Override PartName="/ppt/charts/chartEx11.xml" ContentType="application/vnd.ms-office.chartex+xml"/>
  <Override PartName="/ppt/charts/style22.xml" ContentType="application/vnd.ms-office.chartstyle+xml"/>
  <Override PartName="/ppt/charts/colors22.xml" ContentType="application/vnd.ms-office.chartcolorstyle+xml"/>
  <Override PartName="/ppt/tags/tag307.xml" ContentType="application/vnd.openxmlformats-officedocument.presentationml.tags+xml"/>
  <Override PartName="/ppt/notesSlides/notesSlide9.xml" ContentType="application/vnd.openxmlformats-officedocument.presentationml.notesSlide+xml"/>
  <Override PartName="/ppt/charts/chart1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19.xml" ContentType="application/vnd.openxmlformats-officedocument.drawingml.chart+xml"/>
  <Override PartName="/ppt/charts/style24.xml" ContentType="application/vnd.ms-office.chartstyle+xml"/>
  <Override PartName="/ppt/charts/colors24.xml" ContentType="application/vnd.ms-office.chartcolorstyle+xml"/>
  <Override PartName="/ppt/tags/tag308.xml" ContentType="application/vnd.openxmlformats-officedocument.presentationml.tags+xml"/>
  <Override PartName="/ppt/charts/chart20.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12.xml" ContentType="application/vnd.openxmlformats-officedocument.drawingml.chartshapes+xml"/>
  <Override PartName="/ppt/charts/chart21.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13.xml" ContentType="application/vnd.openxmlformats-officedocument.drawingml.chartshapes+xml"/>
  <Override PartName="/ppt/charts/chart22.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4.xml" ContentType="application/vnd.openxmlformats-officedocument.drawingml.chartshapes+xml"/>
  <Override PartName="/ppt/charts/chart23.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5.xml" ContentType="application/vnd.openxmlformats-officedocument.drawingml.chart+xml"/>
  <Override PartName="/ppt/charts/style30.xml" ContentType="application/vnd.ms-office.chartstyle+xml"/>
  <Override PartName="/ppt/charts/colors30.xml" ContentType="application/vnd.ms-office.chartcolorstyle+xml"/>
  <Override PartName="/ppt/tags/tag309.xml" ContentType="application/vnd.openxmlformats-officedocument.presentationml.tags+xml"/>
  <Override PartName="/ppt/charts/chart26.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15.xml" ContentType="application/vnd.openxmlformats-officedocument.drawingml.chartshapes+xml"/>
  <Override PartName="/ppt/charts/chart27.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2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29.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0.xml" ContentType="application/vnd.openxmlformats-officedocument.drawingml.chart+xml"/>
  <Override PartName="/ppt/charts/style35.xml" ContentType="application/vnd.ms-office.chartstyle+xml"/>
  <Override PartName="/ppt/charts/colors35.xml" ContentType="application/vnd.ms-office.chartcolorstyle+xml"/>
  <Override PartName="/ppt/tags/tag310.xml" ContentType="application/vnd.openxmlformats-officedocument.presentationml.tags+xml"/>
  <Override PartName="/ppt/charts/chart31.xml" ContentType="application/vnd.openxmlformats-officedocument.drawingml.chart+xml"/>
  <Override PartName="/ppt/charts/style36.xml" ContentType="application/vnd.ms-office.chartstyle+xml"/>
  <Override PartName="/ppt/charts/colors36.xml" ContentType="application/vnd.ms-office.chartcolorstyle+xml"/>
  <Override PartName="/ppt/drawings/drawing16.xml" ContentType="application/vnd.openxmlformats-officedocument.drawingml.chartshapes+xml"/>
  <Override PartName="/ppt/charts/chart32.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3.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4.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5.xml" ContentType="application/vnd.openxmlformats-officedocument.drawingml.chart+xml"/>
  <Override PartName="/ppt/charts/style40.xml" ContentType="application/vnd.ms-office.chartstyle+xml"/>
  <Override PartName="/ppt/charts/colors40.xml" ContentType="application/vnd.ms-office.chartcolorstyle+xml"/>
  <Override PartName="/ppt/tags/tag311.xml" ContentType="application/vnd.openxmlformats-officedocument.presentationml.tags+xml"/>
  <Override PartName="/ppt/charts/chart36.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37.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38.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39.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0.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1.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2.xml" ContentType="application/vnd.openxmlformats-officedocument.drawingml.chart+xml"/>
  <Override PartName="/ppt/charts/style47.xml" ContentType="application/vnd.ms-office.chartstyle+xml"/>
  <Override PartName="/ppt/charts/colors47.xml" ContentType="application/vnd.ms-office.chartcolorstyle+xml"/>
  <Override PartName="/ppt/drawings/drawing17.xml" ContentType="application/vnd.openxmlformats-officedocument.drawingml.chartshapes+xml"/>
  <Override PartName="/ppt/charts/chart43.xml" ContentType="application/vnd.openxmlformats-officedocument.drawingml.chart+xml"/>
  <Override PartName="/ppt/charts/style48.xml" ContentType="application/vnd.ms-office.chartstyle+xml"/>
  <Override PartName="/ppt/charts/colors48.xml" ContentType="application/vnd.ms-office.chartcolorstyle+xml"/>
  <Override PartName="/ppt/tags/tag312.xml" ContentType="application/vnd.openxmlformats-officedocument.presentationml.tags+xml"/>
  <Override PartName="/ppt/charts/chart4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4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46.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47.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48.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49.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0.xml" ContentType="application/vnd.openxmlformats-officedocument.drawingml.chart+xml"/>
  <Override PartName="/ppt/charts/style55.xml" ContentType="application/vnd.ms-office.chartstyle+xml"/>
  <Override PartName="/ppt/charts/colors55.xml" ContentType="application/vnd.ms-office.chartcolorstyle+xml"/>
  <Override PartName="/ppt/drawings/drawing18.xml" ContentType="application/vnd.openxmlformats-officedocument.drawingml.chartshapes+xml"/>
  <Override PartName="/ppt/tags/tag313.xml" ContentType="application/vnd.openxmlformats-officedocument.presentationml.tags+xml"/>
  <Override PartName="/ppt/charts/chart51.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2.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3.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4.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5.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56.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57.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19.xml" ContentType="application/vnd.openxmlformats-officedocument.drawingml.chartshapes+xml"/>
  <Override PartName="/ppt/tags/tag314.xml" ContentType="application/vnd.openxmlformats-officedocument.presentationml.tags+xml"/>
  <Override PartName="/ppt/charts/chart58.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59.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0.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1.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2.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3.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4.xml" ContentType="application/vnd.openxmlformats-officedocument.drawingml.chart+xml"/>
  <Override PartName="/ppt/charts/style69.xml" ContentType="application/vnd.ms-office.chartstyle+xml"/>
  <Override PartName="/ppt/charts/colors69.xml" ContentType="application/vnd.ms-office.chartcolorstyle+xml"/>
  <Override PartName="/ppt/drawings/drawing20.xml" ContentType="application/vnd.openxmlformats-officedocument.drawingml.chartshapes+xml"/>
  <Override PartName="/ppt/charts/chart65.xml" ContentType="application/vnd.openxmlformats-officedocument.drawingml.chart+xml"/>
  <Override PartName="/ppt/charts/style70.xml" ContentType="application/vnd.ms-office.chartstyle+xml"/>
  <Override PartName="/ppt/charts/colors70.xml" ContentType="application/vnd.ms-office.chartcolorstyle+xml"/>
  <Override PartName="/ppt/tags/tag315.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0"/>
    <p:sldMasterId id="2147484134" r:id="rId31"/>
    <p:sldMasterId id="2147484269" r:id="rId32"/>
    <p:sldMasterId id="2147484353" r:id="rId33"/>
    <p:sldMasterId id="2147484372" r:id="rId34"/>
  </p:sldMasterIdLst>
  <p:notesMasterIdLst>
    <p:notesMasterId r:id="rId59"/>
  </p:notesMasterIdLst>
  <p:handoutMasterIdLst>
    <p:handoutMasterId r:id="rId60"/>
  </p:handoutMasterIdLst>
  <p:sldIdLst>
    <p:sldId id="2147471301" r:id="rId35"/>
    <p:sldId id="2147471302" r:id="rId36"/>
    <p:sldId id="2147471304" r:id="rId37"/>
    <p:sldId id="2147471305" r:id="rId38"/>
    <p:sldId id="2147471306" r:id="rId39"/>
    <p:sldId id="2147471238" r:id="rId40"/>
    <p:sldId id="2147471309" r:id="rId41"/>
    <p:sldId id="2147479861" r:id="rId42"/>
    <p:sldId id="2147479843" r:id="rId43"/>
    <p:sldId id="2147479844" r:id="rId44"/>
    <p:sldId id="2147473666" r:id="rId45"/>
    <p:sldId id="2147483347" r:id="rId46"/>
    <p:sldId id="2147471312" r:id="rId47"/>
    <p:sldId id="2147483351" r:id="rId48"/>
    <p:sldId id="2147483350" r:id="rId49"/>
    <p:sldId id="2147483352" r:id="rId50"/>
    <p:sldId id="2147483353" r:id="rId51"/>
    <p:sldId id="2147483354" r:id="rId52"/>
    <p:sldId id="2147483356" r:id="rId53"/>
    <p:sldId id="2147483357" r:id="rId54"/>
    <p:sldId id="2147483358" r:id="rId55"/>
    <p:sldId id="2147483359" r:id="rId56"/>
    <p:sldId id="2147483345" r:id="rId57"/>
    <p:sldId id="2147471331"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15E1E5-6315-41FC-BAA3-9524030565BA}">
          <p14:sldIdLst>
            <p14:sldId id="2147471301"/>
          </p14:sldIdLst>
        </p14:section>
        <p14:section name="Objectives" id="{4B80430C-45AB-4E68-9DE3-6DC6FCBA2F9A}">
          <p14:sldIdLst>
            <p14:sldId id="2147471302"/>
            <p14:sldId id="2147471304"/>
            <p14:sldId id="2147471305"/>
            <p14:sldId id="2147471306"/>
          </p14:sldIdLst>
        </p14:section>
        <p14:section name="Executive Summary" id="{3FBD8429-8F96-4092-A068-34CDB3981FCF}">
          <p14:sldIdLst>
            <p14:sldId id="2147471238"/>
          </p14:sldIdLst>
        </p14:section>
        <p14:section name="Methodology" id="{E4C59B98-38FF-43C3-92C4-07862B8646CA}">
          <p14:sldIdLst>
            <p14:sldId id="2147471309"/>
            <p14:sldId id="2147479861"/>
            <p14:sldId id="2147479843"/>
            <p14:sldId id="2147479844"/>
            <p14:sldId id="2147473666"/>
            <p14:sldId id="2147483347"/>
          </p14:sldIdLst>
        </p14:section>
        <p14:section name="Key findings" id="{5BFC530A-524E-4310-B71D-EEA7D8DCF387}">
          <p14:sldIdLst>
            <p14:sldId id="2147471312"/>
            <p14:sldId id="2147483351"/>
            <p14:sldId id="2147483350"/>
            <p14:sldId id="2147483352"/>
            <p14:sldId id="2147483353"/>
            <p14:sldId id="2147483354"/>
            <p14:sldId id="2147483356"/>
            <p14:sldId id="2147483357"/>
            <p14:sldId id="2147483358"/>
            <p14:sldId id="2147483359"/>
          </p14:sldIdLst>
        </p14:section>
        <p14:section name="Conclusions/recommendations" id="{CD01EE3F-6C6C-4477-ADE3-91C3679E8496}">
          <p14:sldIdLst>
            <p14:sldId id="2147483345"/>
            <p14:sldId id="2147471331"/>
          </p14:sldIdLst>
        </p14:section>
        <p14:section name="Annex - color coding of performance" id="{96798080-683C-4F14-88D2-93C6977C62FD}">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2B2C10-B9E6-B389-7147-9BEDF1EDB772}" name="Sandra Irbe" initials="SI" userId="S::Sandra.Irbe@theglobalfund.org::f4b5cbef-0229-474f-9cbd-77724ba720bb" providerId="AD"/>
  <p188:author id="{2B106C23-02DE-1DF5-FACD-67E137C25A61}" name="Katie Read" initials="KR" userId="S::Katie.Read@theglobalfund.org::7d7383e7-8421-4f1e-83b7-aa945f3491c4" providerId="AD"/>
  <p188:author id="{1E413149-B8FD-66A3-C996-04361F3E7202}" name="Caroline Hopkins" initials="CH" userId="S::Caroline.Hopkins@theglobalfund.org::2803804f-218c-4af5-a16e-7c08578b7049" providerId="AD"/>
  <p188:author id="{6765395C-FC53-20CD-8C2F-8416230D9339}" name="Ben Park" initials="BP" userId="S::ben.park@theglobalfund.org::c9baa865-8220-49cd-94b2-a9224991b9ad" providerId="AD"/>
  <p188:author id="{BF88D65E-7D60-CEAD-D602-B8FA70738CB2}" name="Arjun Arackal" initials="AA" userId="S::Arjun.Arackal@theglobalfund.org::ad645f80-e1ac-4256-892d-a248738106de" providerId="AD"/>
  <p188:author id="{9E97816A-E422-FB9A-3022-509D6E25D0D7}" name="Céline Guerin-Pedrali" initials="CGP" userId="S::Celine.Guerin-pedrali@theglobalfund.org::c5ac6980-a3fd-46b3-9117-441ab0496c4e" providerId="AD"/>
  <p188:author id="{1ED37180-FBCA-A91E-2DD5-8140DC32FC49}" name="Céline Guerin-Pedrali" initials="CG" userId="S::celine.guerin-pedrali@theglobalfund.org::c5ac6980-a3fd-46b3-9117-441ab0496c4e" providerId="AD"/>
  <p188:author id="{E01CE288-2F60-77A5-EB16-5B732CDE4BD5}" name="Pankhuri Jha" initials="PJ" userId="S::pankhuri.jha@theglobalfund.org::42772197-c9fc-40f2-b9bd-f325ce9f06e6" providerId="AD"/>
  <p188:author id="{7F1EDC9B-93C1-D8F0-90C4-78F3209F9C39}" name="Japneet" initials="J" userId="S::Japneet.Kaur@theglobalfund.org::c237a667-ca4a-43b2-b2e3-f1a9549e77cb" providerId="AD"/>
  <p188:author id="{482A71A0-01EA-60CE-49AF-6FB9B8B51AF9}" name="Sandra Irbe" initials="SI" userId="S::sandra.irbe@theglobalfund.org::f4b5cbef-0229-474f-9cbd-77724ba720bb" providerId="AD"/>
  <p188:author id="{6B7F01AC-7D5F-B2FA-58E2-A1B87CF57BBA}" name="Samuel Beattie" initials="SB" userId="S::Samuel.Beattie@theglobalfund.org::a85bb1b1-6941-45be-b6ca-0961261d0707" providerId="AD"/>
  <p188:author id="{AA5187B0-E24B-28F5-EBB5-F8BA1410406F}" name="Samira Hadana" initials="SH" userId="S::Samira.Hadana@theglobalfund.org::13e652af-96db-44ae-8f20-dfc26685ec93" providerId="AD"/>
  <p188:author id="{A33E66BB-06A2-A601-E174-63CC700EBCC4}" name="Moses Muputisi" initials="MM" userId="S::Moses.Muputisi@theglobalfund.org::e13ca376-1a36-4e0b-ae82-ff1d04b075f3" providerId="AD"/>
  <p188:author id="{FFF721D9-7197-4AF7-37D1-9CE0E9D066BA}" name="Aude Mellet" initials="AM" userId="S::Aude.Mellet@theglobalfund.org::181b5f5b-ce0c-4a8d-a7ea-3a40822e5bdd" providerId="AD"/>
  <p188:author id="{28F4BBE1-9CF1-0276-01DE-F6188DAAB613}" name="Chirag Rajpuria" initials="CR" userId="S::Chirag.Rajpuria@theglobalfund.org::4ba4aaa4-2a2a-4824-95c1-a36c487f149d" providerId="AD"/>
  <p188:author id="{DB1EC0E5-5887-1E52-52B3-C4675A89235B}" name="Caroline Hopkins" initials="CH" userId="S::caroline.hopkins@theglobalfund.org::2803804f-218c-4af5-a16e-7c08578b7049" providerId="AD"/>
  <p188:author id="{539D37F2-7BCB-E7A4-11F1-3EBCA772FDD6}" name="Claude Bahati" initials="CB" userId="S::Claude.Bahati@theglobalfund.org::03782a1f-69b7-473e-9abb-7daca45578e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4DF9"/>
    <a:srgbClr val="B3092E"/>
    <a:srgbClr val="9F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314609-1365-4DCD-8CF0-F580E23CD214}" v="372" dt="2024-08-01T22:03:11.446"/>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05" autoAdjust="0"/>
    <p:restoredTop sz="94609"/>
  </p:normalViewPr>
  <p:slideViewPr>
    <p:cSldViewPr snapToGrid="0">
      <p:cViewPr varScale="1">
        <p:scale>
          <a:sx n="60" d="100"/>
          <a:sy n="60" d="100"/>
        </p:scale>
        <p:origin x="6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slideMaster" Target="slideMasters/slideMaster5.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3.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tags" Target="tags/tag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1.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4.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slideMaster" Target="slideMasters/slideMaster2.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un Osonuga" userId="6d4a9fd65a6bad53" providerId="LiveId" clId="{E7314609-1365-4DCD-8CF0-F580E23CD214}"/>
    <pc:docChg chg="undo redo custSel addSld delSld modSld sldOrd modSection">
      <pc:chgData name="Seun Osonuga" userId="6d4a9fd65a6bad53" providerId="LiveId" clId="{E7314609-1365-4DCD-8CF0-F580E23CD214}" dt="2024-08-03T14:26:29.659" v="3432"/>
      <pc:docMkLst>
        <pc:docMk/>
      </pc:docMkLst>
      <pc:sldChg chg="add del">
        <pc:chgData name="Seun Osonuga" userId="6d4a9fd65a6bad53" providerId="LiveId" clId="{E7314609-1365-4DCD-8CF0-F580E23CD214}" dt="2024-08-01T22:05:30.206" v="3430" actId="47"/>
        <pc:sldMkLst>
          <pc:docMk/>
          <pc:sldMk cId="1102238574" sldId="2147375707"/>
        </pc:sldMkLst>
      </pc:sldChg>
      <pc:sldChg chg="del">
        <pc:chgData name="Seun Osonuga" userId="6d4a9fd65a6bad53" providerId="LiveId" clId="{E7314609-1365-4DCD-8CF0-F580E23CD214}" dt="2024-08-01T22:01:57.928" v="3370" actId="47"/>
        <pc:sldMkLst>
          <pc:docMk/>
          <pc:sldMk cId="1971864904" sldId="2147471007"/>
        </pc:sldMkLst>
      </pc:sldChg>
      <pc:sldChg chg="modSp mod">
        <pc:chgData name="Seun Osonuga" userId="6d4a9fd65a6bad53" providerId="LiveId" clId="{E7314609-1365-4DCD-8CF0-F580E23CD214}" dt="2024-08-01T12:46:19.660" v="51" actId="20577"/>
        <pc:sldMkLst>
          <pc:docMk/>
          <pc:sldMk cId="3042749303" sldId="2147471301"/>
        </pc:sldMkLst>
        <pc:spChg chg="mod">
          <ac:chgData name="Seun Osonuga" userId="6d4a9fd65a6bad53" providerId="LiveId" clId="{E7314609-1365-4DCD-8CF0-F580E23CD214}" dt="2024-08-01T12:44:20.394" v="7" actId="6549"/>
          <ac:spMkLst>
            <pc:docMk/>
            <pc:sldMk cId="3042749303" sldId="2147471301"/>
            <ac:spMk id="2" creationId="{6697584D-EEF0-B638-D273-70A6AC1E86F0}"/>
          </ac:spMkLst>
        </pc:spChg>
        <pc:spChg chg="mod">
          <ac:chgData name="Seun Osonuga" userId="6d4a9fd65a6bad53" providerId="LiveId" clId="{E7314609-1365-4DCD-8CF0-F580E23CD214}" dt="2024-08-01T12:46:19.660" v="51" actId="20577"/>
          <ac:spMkLst>
            <pc:docMk/>
            <pc:sldMk cId="3042749303" sldId="2147471301"/>
            <ac:spMk id="3" creationId="{7FEF7A20-ED2E-4495-F60F-CBD9BD615CBB}"/>
          </ac:spMkLst>
        </pc:spChg>
        <pc:spChg chg="mod">
          <ac:chgData name="Seun Osonuga" userId="6d4a9fd65a6bad53" providerId="LiveId" clId="{E7314609-1365-4DCD-8CF0-F580E23CD214}" dt="2024-08-01T12:44:55.372" v="36" actId="20577"/>
          <ac:spMkLst>
            <pc:docMk/>
            <pc:sldMk cId="3042749303" sldId="2147471301"/>
            <ac:spMk id="5" creationId="{19A13B1D-0D64-AEF3-6F39-60541108B272}"/>
          </ac:spMkLst>
        </pc:spChg>
      </pc:sldChg>
      <pc:sldChg chg="addSp delSp modSp mod">
        <pc:chgData name="Seun Osonuga" userId="6d4a9fd65a6bad53" providerId="LiveId" clId="{E7314609-1365-4DCD-8CF0-F580E23CD214}" dt="2024-08-01T22:05:20.473" v="3429" actId="1035"/>
        <pc:sldMkLst>
          <pc:docMk/>
          <pc:sldMk cId="1547639651" sldId="2147471304"/>
        </pc:sldMkLst>
        <pc:spChg chg="add mod">
          <ac:chgData name="Seun Osonuga" userId="6d4a9fd65a6bad53" providerId="LiveId" clId="{E7314609-1365-4DCD-8CF0-F580E23CD214}" dt="2024-08-01T22:05:04.957" v="3418" actId="1036"/>
          <ac:spMkLst>
            <pc:docMk/>
            <pc:sldMk cId="1547639651" sldId="2147471304"/>
            <ac:spMk id="5" creationId="{E98CFBDC-E686-4160-8674-A03CFB860E43}"/>
          </ac:spMkLst>
        </pc:spChg>
        <pc:spChg chg="add mod">
          <ac:chgData name="Seun Osonuga" userId="6d4a9fd65a6bad53" providerId="LiveId" clId="{E7314609-1365-4DCD-8CF0-F580E23CD214}" dt="2024-08-01T22:05:20.473" v="3429" actId="1035"/>
          <ac:spMkLst>
            <pc:docMk/>
            <pc:sldMk cId="1547639651" sldId="2147471304"/>
            <ac:spMk id="6" creationId="{4C5CA0DD-D429-46FC-9330-9E0D5558C98C}"/>
          </ac:spMkLst>
        </pc:spChg>
        <pc:spChg chg="add mod">
          <ac:chgData name="Seun Osonuga" userId="6d4a9fd65a6bad53" providerId="LiveId" clId="{E7314609-1365-4DCD-8CF0-F580E23CD214}" dt="2024-08-01T22:05:04.957" v="3418" actId="1036"/>
          <ac:spMkLst>
            <pc:docMk/>
            <pc:sldMk cId="1547639651" sldId="2147471304"/>
            <ac:spMk id="8" creationId="{5AC0B599-87A6-4778-BFCF-7EBCF63FFC31}"/>
          </ac:spMkLst>
        </pc:spChg>
        <pc:spChg chg="mod">
          <ac:chgData name="Seun Osonuga" userId="6d4a9fd65a6bad53" providerId="LiveId" clId="{E7314609-1365-4DCD-8CF0-F580E23CD214}" dt="2024-08-01T22:03:27.127" v="3375" actId="14100"/>
          <ac:spMkLst>
            <pc:docMk/>
            <pc:sldMk cId="1547639651" sldId="2147471304"/>
            <ac:spMk id="15" creationId="{C8D7E4D4-E598-E31A-D2DF-875C73582750}"/>
          </ac:spMkLst>
        </pc:spChg>
        <pc:spChg chg="del">
          <ac:chgData name="Seun Osonuga" userId="6d4a9fd65a6bad53" providerId="LiveId" clId="{E7314609-1365-4DCD-8CF0-F580E23CD214}" dt="2024-08-01T22:02:57.876" v="3372" actId="478"/>
          <ac:spMkLst>
            <pc:docMk/>
            <pc:sldMk cId="1547639651" sldId="2147471304"/>
            <ac:spMk id="17" creationId="{9D8B963A-3C1E-A774-CE98-F2520313EA1D}"/>
          </ac:spMkLst>
        </pc:spChg>
        <pc:cxnChg chg="add mod">
          <ac:chgData name="Seun Osonuga" userId="6d4a9fd65a6bad53" providerId="LiveId" clId="{E7314609-1365-4DCD-8CF0-F580E23CD214}" dt="2024-08-01T22:05:20.473" v="3429" actId="1035"/>
          <ac:cxnSpMkLst>
            <pc:docMk/>
            <pc:sldMk cId="1547639651" sldId="2147471304"/>
            <ac:cxnSpMk id="7" creationId="{0E8F7306-67C1-4786-B1A9-619081DDC54D}"/>
          </ac:cxnSpMkLst>
        </pc:cxnChg>
      </pc:sldChg>
      <pc:sldChg chg="del">
        <pc:chgData name="Seun Osonuga" userId="6d4a9fd65a6bad53" providerId="LiveId" clId="{E7314609-1365-4DCD-8CF0-F580E23CD214}" dt="2024-08-01T21:57:00.462" v="3350" actId="47"/>
        <pc:sldMkLst>
          <pc:docMk/>
          <pc:sldMk cId="3514604732" sldId="2147471332"/>
        </pc:sldMkLst>
      </pc:sldChg>
      <pc:sldChg chg="del">
        <pc:chgData name="Seun Osonuga" userId="6d4a9fd65a6bad53" providerId="LiveId" clId="{E7314609-1365-4DCD-8CF0-F580E23CD214}" dt="2024-08-01T22:06:04.946" v="3431" actId="47"/>
        <pc:sldMkLst>
          <pc:docMk/>
          <pc:sldMk cId="3767221496" sldId="2147473664"/>
        </pc:sldMkLst>
      </pc:sldChg>
      <pc:sldChg chg="del">
        <pc:chgData name="Seun Osonuga" userId="6d4a9fd65a6bad53" providerId="LiveId" clId="{E7314609-1365-4DCD-8CF0-F580E23CD214}" dt="2024-08-01T22:06:04.946" v="3431" actId="47"/>
        <pc:sldMkLst>
          <pc:docMk/>
          <pc:sldMk cId="3423273251" sldId="2147473665"/>
        </pc:sldMkLst>
      </pc:sldChg>
      <pc:sldChg chg="del">
        <pc:chgData name="Seun Osonuga" userId="6d4a9fd65a6bad53" providerId="LiveId" clId="{E7314609-1365-4DCD-8CF0-F580E23CD214}" dt="2024-08-01T21:48:45.779" v="3323" actId="47"/>
        <pc:sldMkLst>
          <pc:docMk/>
          <pc:sldMk cId="2548565419" sldId="2147473667"/>
        </pc:sldMkLst>
      </pc:sldChg>
      <pc:sldChg chg="add">
        <pc:chgData name="Seun Osonuga" userId="6d4a9fd65a6bad53" providerId="LiveId" clId="{E7314609-1365-4DCD-8CF0-F580E23CD214}" dt="2024-08-01T22:01:16.027" v="3368"/>
        <pc:sldMkLst>
          <pc:docMk/>
          <pc:sldMk cId="3932391859" sldId="2147479843"/>
        </pc:sldMkLst>
      </pc:sldChg>
      <pc:sldChg chg="add">
        <pc:chgData name="Seun Osonuga" userId="6d4a9fd65a6bad53" providerId="LiveId" clId="{E7314609-1365-4DCD-8CF0-F580E23CD214}" dt="2024-08-01T22:01:16.027" v="3368"/>
        <pc:sldMkLst>
          <pc:docMk/>
          <pc:sldMk cId="2995839211" sldId="2147479844"/>
        </pc:sldMkLst>
      </pc:sldChg>
      <pc:sldChg chg="add">
        <pc:chgData name="Seun Osonuga" userId="6d4a9fd65a6bad53" providerId="LiveId" clId="{E7314609-1365-4DCD-8CF0-F580E23CD214}" dt="2024-08-01T22:01:53.680" v="3369"/>
        <pc:sldMkLst>
          <pc:docMk/>
          <pc:sldMk cId="1252883717" sldId="2147479861"/>
        </pc:sldMkLst>
      </pc:sldChg>
      <pc:sldChg chg="del">
        <pc:chgData name="Seun Osonuga" userId="6d4a9fd65a6bad53" providerId="LiveId" clId="{E7314609-1365-4DCD-8CF0-F580E23CD214}" dt="2024-08-01T21:56:56.300" v="3349" actId="47"/>
        <pc:sldMkLst>
          <pc:docMk/>
          <pc:sldMk cId="621843727" sldId="2147483322"/>
        </pc:sldMkLst>
      </pc:sldChg>
      <pc:sldChg chg="del">
        <pc:chgData name="Seun Osonuga" userId="6d4a9fd65a6bad53" providerId="LiveId" clId="{E7314609-1365-4DCD-8CF0-F580E23CD214}" dt="2024-08-01T21:48:43.289" v="3322" actId="47"/>
        <pc:sldMkLst>
          <pc:docMk/>
          <pc:sldMk cId="374630243" sldId="2147483323"/>
        </pc:sldMkLst>
      </pc:sldChg>
      <pc:sldChg chg="del">
        <pc:chgData name="Seun Osonuga" userId="6d4a9fd65a6bad53" providerId="LiveId" clId="{E7314609-1365-4DCD-8CF0-F580E23CD214}" dt="2024-08-01T21:57:05.317" v="3351" actId="47"/>
        <pc:sldMkLst>
          <pc:docMk/>
          <pc:sldMk cId="655760376" sldId="2147483324"/>
        </pc:sldMkLst>
      </pc:sldChg>
      <pc:sldChg chg="del">
        <pc:chgData name="Seun Osonuga" userId="6d4a9fd65a6bad53" providerId="LiveId" clId="{E7314609-1365-4DCD-8CF0-F580E23CD214}" dt="2024-08-01T21:57:07.630" v="3352" actId="47"/>
        <pc:sldMkLst>
          <pc:docMk/>
          <pc:sldMk cId="883203918" sldId="2147483325"/>
        </pc:sldMkLst>
      </pc:sldChg>
      <pc:sldChg chg="del">
        <pc:chgData name="Seun Osonuga" userId="6d4a9fd65a6bad53" providerId="LiveId" clId="{E7314609-1365-4DCD-8CF0-F580E23CD214}" dt="2024-08-01T21:57:10.333" v="3353" actId="47"/>
        <pc:sldMkLst>
          <pc:docMk/>
          <pc:sldMk cId="1676575122" sldId="2147483326"/>
        </pc:sldMkLst>
      </pc:sldChg>
      <pc:sldChg chg="del">
        <pc:chgData name="Seun Osonuga" userId="6d4a9fd65a6bad53" providerId="LiveId" clId="{E7314609-1365-4DCD-8CF0-F580E23CD214}" dt="2024-08-01T16:57:48.853" v="1080" actId="47"/>
        <pc:sldMkLst>
          <pc:docMk/>
          <pc:sldMk cId="4251224681" sldId="2147483331"/>
        </pc:sldMkLst>
      </pc:sldChg>
      <pc:sldChg chg="addSp delSp modSp add mod delCm">
        <pc:chgData name="Seun Osonuga" userId="6d4a9fd65a6bad53" providerId="LiveId" clId="{E7314609-1365-4DCD-8CF0-F580E23CD214}" dt="2024-08-03T14:26:29.659" v="3432"/>
        <pc:sldMkLst>
          <pc:docMk/>
          <pc:sldMk cId="137453155" sldId="2147483345"/>
        </pc:sldMkLst>
        <pc:spChg chg="add mod">
          <ac:chgData name="Seun Osonuga" userId="6d4a9fd65a6bad53" providerId="LiveId" clId="{E7314609-1365-4DCD-8CF0-F580E23CD214}" dt="2024-08-01T21:56:53.565" v="3348"/>
          <ac:spMkLst>
            <pc:docMk/>
            <pc:sldMk cId="137453155" sldId="2147483345"/>
            <ac:spMk id="43" creationId="{6FBB7614-E655-4A67-9C14-5C58E2B57603}"/>
          </ac:spMkLst>
        </pc:spChg>
        <pc:spChg chg="del">
          <ac:chgData name="Seun Osonuga" userId="6d4a9fd65a6bad53" providerId="LiveId" clId="{E7314609-1365-4DCD-8CF0-F580E23CD214}" dt="2024-08-01T21:56:14.094" v="3344" actId="478"/>
          <ac:spMkLst>
            <pc:docMk/>
            <pc:sldMk cId="137453155" sldId="2147483345"/>
            <ac:spMk id="62" creationId="{BF6C2AFF-4A2E-4DC7-BDD2-FC3F6C4A19FD}"/>
          </ac:spMkLst>
        </pc:spChg>
      </pc:sldChg>
      <pc:sldChg chg="addSp delSp modSp mod">
        <pc:chgData name="Seun Osonuga" userId="6d4a9fd65a6bad53" providerId="LiveId" clId="{E7314609-1365-4DCD-8CF0-F580E23CD214}" dt="2024-08-01T13:43:19.792" v="416" actId="207"/>
        <pc:sldMkLst>
          <pc:docMk/>
          <pc:sldMk cId="1758967811" sldId="2147483347"/>
        </pc:sldMkLst>
        <pc:spChg chg="mod">
          <ac:chgData name="Seun Osonuga" userId="6d4a9fd65a6bad53" providerId="LiveId" clId="{E7314609-1365-4DCD-8CF0-F580E23CD214}" dt="2024-08-01T13:07:06.419" v="115" actId="1076"/>
          <ac:spMkLst>
            <pc:docMk/>
            <pc:sldMk cId="1758967811" sldId="2147483347"/>
            <ac:spMk id="82" creationId="{94AD168A-581E-44F3-A877-2165069D125E}"/>
          </ac:spMkLst>
        </pc:spChg>
        <pc:spChg chg="add del mod">
          <ac:chgData name="Seun Osonuga" userId="6d4a9fd65a6bad53" providerId="LiveId" clId="{E7314609-1365-4DCD-8CF0-F580E23CD214}" dt="2024-08-01T12:55:00.149" v="54"/>
          <ac:spMkLst>
            <pc:docMk/>
            <pc:sldMk cId="1758967811" sldId="2147483347"/>
            <ac:spMk id="83" creationId="{A6DB9F99-E4CA-49B0-80A4-EA8DE9019E75}"/>
          </ac:spMkLst>
        </pc:spChg>
        <pc:spChg chg="add del">
          <ac:chgData name="Seun Osonuga" userId="6d4a9fd65a6bad53" providerId="LiveId" clId="{E7314609-1365-4DCD-8CF0-F580E23CD214}" dt="2024-08-01T12:55:30.640" v="65" actId="478"/>
          <ac:spMkLst>
            <pc:docMk/>
            <pc:sldMk cId="1758967811" sldId="2147483347"/>
            <ac:spMk id="85" creationId="{08B7AD02-C73E-4111-A351-F2BDF6E199B9}"/>
          </ac:spMkLst>
        </pc:spChg>
        <pc:spChg chg="mod">
          <ac:chgData name="Seun Osonuga" userId="6d4a9fd65a6bad53" providerId="LiveId" clId="{E7314609-1365-4DCD-8CF0-F580E23CD214}" dt="2024-08-01T13:06:37.436" v="112" actId="12788"/>
          <ac:spMkLst>
            <pc:docMk/>
            <pc:sldMk cId="1758967811" sldId="2147483347"/>
            <ac:spMk id="86" creationId="{F1C33481-2FF7-4A65-9AEA-9FA4BBCB7604}"/>
          </ac:spMkLst>
        </pc:spChg>
        <pc:spChg chg="add mod">
          <ac:chgData name="Seun Osonuga" userId="6d4a9fd65a6bad53" providerId="LiveId" clId="{E7314609-1365-4DCD-8CF0-F580E23CD214}" dt="2024-08-01T12:55:52.516" v="93" actId="20577"/>
          <ac:spMkLst>
            <pc:docMk/>
            <pc:sldMk cId="1758967811" sldId="2147483347"/>
            <ac:spMk id="87" creationId="{20C8EFF4-2A98-444D-93D4-025A82167FD7}"/>
          </ac:spMkLst>
        </pc:spChg>
        <pc:spChg chg="add mod">
          <ac:chgData name="Seun Osonuga" userId="6d4a9fd65a6bad53" providerId="LiveId" clId="{E7314609-1365-4DCD-8CF0-F580E23CD214}" dt="2024-08-01T13:33:02.321" v="342" actId="20577"/>
          <ac:spMkLst>
            <pc:docMk/>
            <pc:sldMk cId="1758967811" sldId="2147483347"/>
            <ac:spMk id="89" creationId="{9EB6617D-3150-45AB-A3D7-972343DE7314}"/>
          </ac:spMkLst>
        </pc:spChg>
        <pc:spChg chg="add mod">
          <ac:chgData name="Seun Osonuga" userId="6d4a9fd65a6bad53" providerId="LiveId" clId="{E7314609-1365-4DCD-8CF0-F580E23CD214}" dt="2024-08-01T13:27:14.065" v="312" actId="20577"/>
          <ac:spMkLst>
            <pc:docMk/>
            <pc:sldMk cId="1758967811" sldId="2147483347"/>
            <ac:spMk id="92" creationId="{E7741CC0-4C07-4D27-A875-05FE383659EE}"/>
          </ac:spMkLst>
        </pc:spChg>
        <pc:spChg chg="add mod">
          <ac:chgData name="Seun Osonuga" userId="6d4a9fd65a6bad53" providerId="LiveId" clId="{E7314609-1365-4DCD-8CF0-F580E23CD214}" dt="2024-08-01T13:27:09.765" v="310" actId="20577"/>
          <ac:spMkLst>
            <pc:docMk/>
            <pc:sldMk cId="1758967811" sldId="2147483347"/>
            <ac:spMk id="94" creationId="{217607ED-4E2F-48C1-A9CF-F16F40BCEB4C}"/>
          </ac:spMkLst>
        </pc:spChg>
        <pc:spChg chg="mod">
          <ac:chgData name="Seun Osonuga" userId="6d4a9fd65a6bad53" providerId="LiveId" clId="{E7314609-1365-4DCD-8CF0-F580E23CD214}" dt="2024-08-01T13:41:00.709" v="393" actId="12789"/>
          <ac:spMkLst>
            <pc:docMk/>
            <pc:sldMk cId="1758967811" sldId="2147483347"/>
            <ac:spMk id="95" creationId="{B8733329-9AB6-4C6F-953F-2998C40A0935}"/>
          </ac:spMkLst>
        </pc:spChg>
        <pc:spChg chg="add mod">
          <ac:chgData name="Seun Osonuga" userId="6d4a9fd65a6bad53" providerId="LiveId" clId="{E7314609-1365-4DCD-8CF0-F580E23CD214}" dt="2024-08-01T13:26:56.032" v="308" actId="1037"/>
          <ac:spMkLst>
            <pc:docMk/>
            <pc:sldMk cId="1758967811" sldId="2147483347"/>
            <ac:spMk id="112" creationId="{58D3CD38-A3C1-445F-88E5-F7FE4CD7631C}"/>
          </ac:spMkLst>
        </pc:spChg>
        <pc:spChg chg="add mod">
          <ac:chgData name="Seun Osonuga" userId="6d4a9fd65a6bad53" providerId="LiveId" clId="{E7314609-1365-4DCD-8CF0-F580E23CD214}" dt="2024-08-01T13:26:56.032" v="308" actId="1037"/>
          <ac:spMkLst>
            <pc:docMk/>
            <pc:sldMk cId="1758967811" sldId="2147483347"/>
            <ac:spMk id="113" creationId="{C279195F-9A3A-4CC2-9FB7-C75BBC1889EF}"/>
          </ac:spMkLst>
        </pc:spChg>
        <pc:spChg chg="add mod">
          <ac:chgData name="Seun Osonuga" userId="6d4a9fd65a6bad53" providerId="LiveId" clId="{E7314609-1365-4DCD-8CF0-F580E23CD214}" dt="2024-08-01T13:26:56.032" v="308" actId="1037"/>
          <ac:spMkLst>
            <pc:docMk/>
            <pc:sldMk cId="1758967811" sldId="2147483347"/>
            <ac:spMk id="114" creationId="{6ADFF96A-F99A-481D-9018-712B24723AE7}"/>
          </ac:spMkLst>
        </pc:spChg>
        <pc:spChg chg="del">
          <ac:chgData name="Seun Osonuga" userId="6d4a9fd65a6bad53" providerId="LiveId" clId="{E7314609-1365-4DCD-8CF0-F580E23CD214}" dt="2024-08-01T13:40:26.450" v="385" actId="478"/>
          <ac:spMkLst>
            <pc:docMk/>
            <pc:sldMk cId="1758967811" sldId="2147483347"/>
            <ac:spMk id="127" creationId="{9BEACD01-F532-4237-AE3A-D1002BC396B0}"/>
          </ac:spMkLst>
        </pc:spChg>
        <pc:spChg chg="add del">
          <ac:chgData name="Seun Osonuga" userId="6d4a9fd65a6bad53" providerId="LiveId" clId="{E7314609-1365-4DCD-8CF0-F580E23CD214}" dt="2024-08-01T13:32:57.818" v="340" actId="478"/>
          <ac:spMkLst>
            <pc:docMk/>
            <pc:sldMk cId="1758967811" sldId="2147483347"/>
            <ac:spMk id="169" creationId="{6D1F0FF3-B93A-4F09-B38D-4A9D424BFD11}"/>
          </ac:spMkLst>
        </pc:spChg>
        <pc:grpChg chg="mod">
          <ac:chgData name="Seun Osonuga" userId="6d4a9fd65a6bad53" providerId="LiveId" clId="{E7314609-1365-4DCD-8CF0-F580E23CD214}" dt="2024-08-01T13:41:00.709" v="393" actId="12789"/>
          <ac:grpSpMkLst>
            <pc:docMk/>
            <pc:sldMk cId="1758967811" sldId="2147483347"/>
            <ac:grpSpMk id="93" creationId="{403DF5C0-E03B-4FA2-97A9-4BDFA7113C8E}"/>
          </ac:grpSpMkLst>
        </pc:grpChg>
        <pc:graphicFrameChg chg="del">
          <ac:chgData name="Seun Osonuga" userId="6d4a9fd65a6bad53" providerId="LiveId" clId="{E7314609-1365-4DCD-8CF0-F580E23CD214}" dt="2024-08-01T13:40:23.724" v="384" actId="478"/>
          <ac:graphicFrameMkLst>
            <pc:docMk/>
            <pc:sldMk cId="1758967811" sldId="2147483347"/>
            <ac:graphicFrameMk id="102" creationId="{0BD34ABB-1F01-475A-8394-460DA0D542DC}"/>
          </ac:graphicFrameMkLst>
        </pc:graphicFrameChg>
        <pc:graphicFrameChg chg="del">
          <ac:chgData name="Seun Osonuga" userId="6d4a9fd65a6bad53" providerId="LiveId" clId="{E7314609-1365-4DCD-8CF0-F580E23CD214}" dt="2024-08-01T13:40:23.724" v="384" actId="478"/>
          <ac:graphicFrameMkLst>
            <pc:docMk/>
            <pc:sldMk cId="1758967811" sldId="2147483347"/>
            <ac:graphicFrameMk id="103" creationId="{0530D3F5-6E74-4A57-A902-D6D0EC3D14F2}"/>
          </ac:graphicFrameMkLst>
        </pc:graphicFrameChg>
        <pc:graphicFrameChg chg="add del mod">
          <ac:chgData name="Seun Osonuga" userId="6d4a9fd65a6bad53" providerId="LiveId" clId="{E7314609-1365-4DCD-8CF0-F580E23CD214}" dt="2024-08-01T13:38:58.266" v="368" actId="478"/>
          <ac:graphicFrameMkLst>
            <pc:docMk/>
            <pc:sldMk cId="1758967811" sldId="2147483347"/>
            <ac:graphicFrameMk id="115" creationId="{5B4F9394-B762-4FC4-93F3-F2EF964639D7}"/>
          </ac:graphicFrameMkLst>
        </pc:graphicFrameChg>
        <pc:graphicFrameChg chg="add mod">
          <ac:chgData name="Seun Osonuga" userId="6d4a9fd65a6bad53" providerId="LiveId" clId="{E7314609-1365-4DCD-8CF0-F580E23CD214}" dt="2024-08-01T13:39:31.941" v="375" actId="465"/>
          <ac:graphicFrameMkLst>
            <pc:docMk/>
            <pc:sldMk cId="1758967811" sldId="2147483347"/>
            <ac:graphicFrameMk id="116" creationId="{3ACC39E4-C3A9-415B-B9E1-6897BFED2433}"/>
          </ac:graphicFrameMkLst>
        </pc:graphicFrameChg>
        <pc:graphicFrameChg chg="add mod">
          <ac:chgData name="Seun Osonuga" userId="6d4a9fd65a6bad53" providerId="LiveId" clId="{E7314609-1365-4DCD-8CF0-F580E23CD214}" dt="2024-08-01T13:42:55.322" v="412" actId="207"/>
          <ac:graphicFrameMkLst>
            <pc:docMk/>
            <pc:sldMk cId="1758967811" sldId="2147483347"/>
            <ac:graphicFrameMk id="117" creationId="{E812B4EA-AEB4-4C5C-A4C5-F8DA2A8BC827}"/>
          </ac:graphicFrameMkLst>
        </pc:graphicFrameChg>
        <pc:graphicFrameChg chg="add mod">
          <ac:chgData name="Seun Osonuga" userId="6d4a9fd65a6bad53" providerId="LiveId" clId="{E7314609-1365-4DCD-8CF0-F580E23CD214}" dt="2024-08-01T13:43:19.792" v="416" actId="207"/>
          <ac:graphicFrameMkLst>
            <pc:docMk/>
            <pc:sldMk cId="1758967811" sldId="2147483347"/>
            <ac:graphicFrameMk id="118" creationId="{7FB56DF0-579B-4E7C-AABD-D24C7BCFEE50}"/>
          </ac:graphicFrameMkLst>
        </pc:graphicFrameChg>
        <pc:graphicFrameChg chg="add mod">
          <ac:chgData name="Seun Osonuga" userId="6d4a9fd65a6bad53" providerId="LiveId" clId="{E7314609-1365-4DCD-8CF0-F580E23CD214}" dt="2024-08-01T13:40:49.023" v="389" actId="1076"/>
          <ac:graphicFrameMkLst>
            <pc:docMk/>
            <pc:sldMk cId="1758967811" sldId="2147483347"/>
            <ac:graphicFrameMk id="119" creationId="{7E95528D-FB47-4E57-914D-3EA4254870B2}"/>
          </ac:graphicFrameMkLst>
        </pc:graphicFrameChg>
        <pc:graphicFrameChg chg="add mod">
          <ac:chgData name="Seun Osonuga" userId="6d4a9fd65a6bad53" providerId="LiveId" clId="{E7314609-1365-4DCD-8CF0-F580E23CD214}" dt="2024-08-01T13:40:49.680" v="390"/>
          <ac:graphicFrameMkLst>
            <pc:docMk/>
            <pc:sldMk cId="1758967811" sldId="2147483347"/>
            <ac:graphicFrameMk id="120" creationId="{A19C0A74-B96B-4E7F-9752-8A3FDCD10440}"/>
          </ac:graphicFrameMkLst>
        </pc:graphicFrameChg>
        <pc:graphicFrameChg chg="del">
          <ac:chgData name="Seun Osonuga" userId="6d4a9fd65a6bad53" providerId="LiveId" clId="{E7314609-1365-4DCD-8CF0-F580E23CD214}" dt="2024-08-01T13:40:23.724" v="384" actId="478"/>
          <ac:graphicFrameMkLst>
            <pc:docMk/>
            <pc:sldMk cId="1758967811" sldId="2147483347"/>
            <ac:graphicFrameMk id="128" creationId="{567DBF39-84D3-41D8-9EE4-CCC395F111C5}"/>
          </ac:graphicFrameMkLst>
        </pc:graphicFrameChg>
        <pc:graphicFrameChg chg="del mod">
          <ac:chgData name="Seun Osonuga" userId="6d4a9fd65a6bad53" providerId="LiveId" clId="{E7314609-1365-4DCD-8CF0-F580E23CD214}" dt="2024-08-01T13:38:58.266" v="368" actId="478"/>
          <ac:graphicFrameMkLst>
            <pc:docMk/>
            <pc:sldMk cId="1758967811" sldId="2147483347"/>
            <ac:graphicFrameMk id="160" creationId="{38C900BF-604D-4B21-8A8D-D999A086C087}"/>
          </ac:graphicFrameMkLst>
        </pc:graphicFrameChg>
        <pc:graphicFrameChg chg="del">
          <ac:chgData name="Seun Osonuga" userId="6d4a9fd65a6bad53" providerId="LiveId" clId="{E7314609-1365-4DCD-8CF0-F580E23CD214}" dt="2024-08-01T13:36:27.939" v="353" actId="478"/>
          <ac:graphicFrameMkLst>
            <pc:docMk/>
            <pc:sldMk cId="1758967811" sldId="2147483347"/>
            <ac:graphicFrameMk id="161" creationId="{B0AB8549-A56E-49D7-A5AE-B174F179CBFF}"/>
          </ac:graphicFrameMkLst>
        </pc:graphicFrameChg>
        <pc:graphicFrameChg chg="mod">
          <ac:chgData name="Seun Osonuga" userId="6d4a9fd65a6bad53" providerId="LiveId" clId="{E7314609-1365-4DCD-8CF0-F580E23CD214}" dt="2024-08-01T13:42:51.062" v="411" actId="207"/>
          <ac:graphicFrameMkLst>
            <pc:docMk/>
            <pc:sldMk cId="1758967811" sldId="2147483347"/>
            <ac:graphicFrameMk id="170" creationId="{E4D21F53-D4AA-421C-9003-0A694F16F46B}"/>
          </ac:graphicFrameMkLst>
        </pc:graphicFrameChg>
        <pc:picChg chg="del mod">
          <ac:chgData name="Seun Osonuga" userId="6d4a9fd65a6bad53" providerId="LiveId" clId="{E7314609-1365-4DCD-8CF0-F580E23CD214}" dt="2024-08-01T13:05:31.792" v="97" actId="478"/>
          <ac:picMkLst>
            <pc:docMk/>
            <pc:sldMk cId="1758967811" sldId="2147483347"/>
            <ac:picMk id="4" creationId="{D2A58571-0C2E-4CDB-AB54-367B99064C03}"/>
          </ac:picMkLst>
        </pc:picChg>
        <pc:picChg chg="add mod modCrop">
          <ac:chgData name="Seun Osonuga" userId="6d4a9fd65a6bad53" providerId="LiveId" clId="{E7314609-1365-4DCD-8CF0-F580E23CD214}" dt="2024-08-01T13:06:37.436" v="112" actId="12788"/>
          <ac:picMkLst>
            <pc:docMk/>
            <pc:sldMk cId="1758967811" sldId="2147483347"/>
            <ac:picMk id="5" creationId="{EFED78F9-BB4E-4CF1-AE1F-FB84A6AFBB93}"/>
          </ac:picMkLst>
        </pc:picChg>
        <pc:picChg chg="mod">
          <ac:chgData name="Seun Osonuga" userId="6d4a9fd65a6bad53" providerId="LiveId" clId="{E7314609-1365-4DCD-8CF0-F580E23CD214}" dt="2024-08-01T13:41:00.709" v="393" actId="12789"/>
          <ac:picMkLst>
            <pc:docMk/>
            <pc:sldMk cId="1758967811" sldId="2147483347"/>
            <ac:picMk id="96" creationId="{F844C1F8-531A-49B9-9064-FFF442A7F20F}"/>
          </ac:picMkLst>
        </pc:picChg>
        <pc:cxnChg chg="add del mod">
          <ac:chgData name="Seun Osonuga" userId="6d4a9fd65a6bad53" providerId="LiveId" clId="{E7314609-1365-4DCD-8CF0-F580E23CD214}" dt="2024-08-01T12:55:00.149" v="54"/>
          <ac:cxnSpMkLst>
            <pc:docMk/>
            <pc:sldMk cId="1758967811" sldId="2147483347"/>
            <ac:cxnSpMk id="80" creationId="{20F75CDF-35E1-4445-874F-6716E1CB9323}"/>
          </ac:cxnSpMkLst>
        </pc:cxnChg>
        <pc:cxnChg chg="add mod">
          <ac:chgData name="Seun Osonuga" userId="6d4a9fd65a6bad53" providerId="LiveId" clId="{E7314609-1365-4DCD-8CF0-F580E23CD214}" dt="2024-08-01T12:55:44.172" v="87" actId="14100"/>
          <ac:cxnSpMkLst>
            <pc:docMk/>
            <pc:sldMk cId="1758967811" sldId="2147483347"/>
            <ac:cxnSpMk id="84" creationId="{9A12FAF2-AD40-4BB5-B517-CC3A17A5A504}"/>
          </ac:cxnSpMkLst>
        </pc:cxnChg>
      </pc:sldChg>
      <pc:sldChg chg="del">
        <pc:chgData name="Seun Osonuga" userId="6d4a9fd65a6bad53" providerId="LiveId" clId="{E7314609-1365-4DCD-8CF0-F580E23CD214}" dt="2024-08-01T15:12:43.180" v="418" actId="47"/>
        <pc:sldMkLst>
          <pc:docMk/>
          <pc:sldMk cId="3289136143" sldId="2147483349"/>
        </pc:sldMkLst>
      </pc:sldChg>
      <pc:sldChg chg="addSp delSp modSp mod">
        <pc:chgData name="Seun Osonuga" userId="6d4a9fd65a6bad53" providerId="LiveId" clId="{E7314609-1365-4DCD-8CF0-F580E23CD214}" dt="2024-08-01T16:33:26.860" v="874" actId="20577"/>
        <pc:sldMkLst>
          <pc:docMk/>
          <pc:sldMk cId="3331175220" sldId="2147483350"/>
        </pc:sldMkLst>
        <pc:spChg chg="del">
          <ac:chgData name="Seun Osonuga" userId="6d4a9fd65a6bad53" providerId="LiveId" clId="{E7314609-1365-4DCD-8CF0-F580E23CD214}" dt="2024-08-01T15:40:25.121" v="591" actId="478"/>
          <ac:spMkLst>
            <pc:docMk/>
            <pc:sldMk cId="3331175220" sldId="2147483350"/>
            <ac:spMk id="5" creationId="{F2EB43DB-D181-2A7E-B1E9-12E8829BE0B7}"/>
          </ac:spMkLst>
        </pc:spChg>
        <pc:spChg chg="add mod">
          <ac:chgData name="Seun Osonuga" userId="6d4a9fd65a6bad53" providerId="LiveId" clId="{E7314609-1365-4DCD-8CF0-F580E23CD214}" dt="2024-08-01T15:57:17.927" v="852" actId="114"/>
          <ac:spMkLst>
            <pc:docMk/>
            <pc:sldMk cId="3331175220" sldId="2147483350"/>
            <ac:spMk id="10" creationId="{82BE0D56-2554-484C-910A-34939A8FE28E}"/>
          </ac:spMkLst>
        </pc:spChg>
        <pc:spChg chg="add mod ord">
          <ac:chgData name="Seun Osonuga" userId="6d4a9fd65a6bad53" providerId="LiveId" clId="{E7314609-1365-4DCD-8CF0-F580E23CD214}" dt="2024-08-01T15:40:38.076" v="596" actId="167"/>
          <ac:spMkLst>
            <pc:docMk/>
            <pc:sldMk cId="3331175220" sldId="2147483350"/>
            <ac:spMk id="11" creationId="{19575A15-1082-4B6E-A611-7E13991046BC}"/>
          </ac:spMkLst>
        </pc:spChg>
        <pc:spChg chg="add del mod">
          <ac:chgData name="Seun Osonuga" userId="6d4a9fd65a6bad53" providerId="LiveId" clId="{E7314609-1365-4DCD-8CF0-F580E23CD214}" dt="2024-08-01T15:40:18.356" v="589" actId="478"/>
          <ac:spMkLst>
            <pc:docMk/>
            <pc:sldMk cId="3331175220" sldId="2147483350"/>
            <ac:spMk id="14" creationId="{7530B371-67E7-439E-811C-40341D7EA7FD}"/>
          </ac:spMkLst>
        </pc:spChg>
        <pc:spChg chg="add del mod">
          <ac:chgData name="Seun Osonuga" userId="6d4a9fd65a6bad53" providerId="LiveId" clId="{E7314609-1365-4DCD-8CF0-F580E23CD214}" dt="2024-08-01T15:39:25.406" v="571" actId="478"/>
          <ac:spMkLst>
            <pc:docMk/>
            <pc:sldMk cId="3331175220" sldId="2147483350"/>
            <ac:spMk id="15" creationId="{D9784621-FF1B-47E0-BA57-E36DE234036F}"/>
          </ac:spMkLst>
        </pc:spChg>
        <pc:spChg chg="add mod">
          <ac:chgData name="Seun Osonuga" userId="6d4a9fd65a6bad53" providerId="LiveId" clId="{E7314609-1365-4DCD-8CF0-F580E23CD214}" dt="2024-08-01T16:33:26.860" v="874" actId="20577"/>
          <ac:spMkLst>
            <pc:docMk/>
            <pc:sldMk cId="3331175220" sldId="2147483350"/>
            <ac:spMk id="17" creationId="{A4A3D9CD-3A9C-4435-AEDA-4A4AD43C3A59}"/>
          </ac:spMkLst>
        </pc:spChg>
        <pc:spChg chg="add mod">
          <ac:chgData name="Seun Osonuga" userId="6d4a9fd65a6bad53" providerId="LiveId" clId="{E7314609-1365-4DCD-8CF0-F580E23CD214}" dt="2024-08-01T16:33:22" v="873" actId="1038"/>
          <ac:spMkLst>
            <pc:docMk/>
            <pc:sldMk cId="3331175220" sldId="2147483350"/>
            <ac:spMk id="20" creationId="{268F7805-DF32-45F9-B149-72176972B4DC}"/>
          </ac:spMkLst>
        </pc:spChg>
        <pc:graphicFrameChg chg="add mod">
          <ac:chgData name="Seun Osonuga" userId="6d4a9fd65a6bad53" providerId="LiveId" clId="{E7314609-1365-4DCD-8CF0-F580E23CD214}" dt="2024-08-01T15:42:07.855" v="736" actId="14100"/>
          <ac:graphicFrameMkLst>
            <pc:docMk/>
            <pc:sldMk cId="3331175220" sldId="2147483350"/>
            <ac:graphicFrameMk id="6" creationId="{F033B52B-78FD-4755-9390-03C09B2A001D}"/>
          </ac:graphicFrameMkLst>
        </pc:graphicFrameChg>
        <pc:graphicFrameChg chg="del">
          <ac:chgData name="Seun Osonuga" userId="6d4a9fd65a6bad53" providerId="LiveId" clId="{E7314609-1365-4DCD-8CF0-F580E23CD214}" dt="2024-08-01T15:35:52.106" v="552" actId="478"/>
          <ac:graphicFrameMkLst>
            <pc:docMk/>
            <pc:sldMk cId="3331175220" sldId="2147483350"/>
            <ac:graphicFrameMk id="7" creationId="{F52CAC21-9570-40AD-873F-78843B50F1C0}"/>
          </ac:graphicFrameMkLst>
        </pc:graphicFrameChg>
        <pc:graphicFrameChg chg="del mod topLvl modGraphic">
          <ac:chgData name="Seun Osonuga" userId="6d4a9fd65a6bad53" providerId="LiveId" clId="{E7314609-1365-4DCD-8CF0-F580E23CD214}" dt="2024-08-01T15:26:05.013" v="508" actId="478"/>
          <ac:graphicFrameMkLst>
            <pc:docMk/>
            <pc:sldMk cId="3331175220" sldId="2147483350"/>
            <ac:graphicFrameMk id="8" creationId="{0B6561DD-AFA0-4A42-8F07-3E1FEC1C8B19}"/>
          </ac:graphicFrameMkLst>
        </pc:graphicFrameChg>
        <pc:graphicFrameChg chg="add mod">
          <ac:chgData name="Seun Osonuga" userId="6d4a9fd65a6bad53" providerId="LiveId" clId="{E7314609-1365-4DCD-8CF0-F580E23CD214}" dt="2024-08-01T15:46:51.955" v="765" actId="255"/>
          <ac:graphicFrameMkLst>
            <pc:docMk/>
            <pc:sldMk cId="3331175220" sldId="2147483350"/>
            <ac:graphicFrameMk id="9" creationId="{78CCB46E-EDA6-4276-8543-889AF92256D5}"/>
          </ac:graphicFrameMkLst>
        </pc:graphicFrameChg>
        <pc:graphicFrameChg chg="add del mod">
          <ac:chgData name="Seun Osonuga" userId="6d4a9fd65a6bad53" providerId="LiveId" clId="{E7314609-1365-4DCD-8CF0-F580E23CD214}" dt="2024-08-01T15:39:37.486" v="580" actId="478"/>
          <ac:graphicFrameMkLst>
            <pc:docMk/>
            <pc:sldMk cId="3331175220" sldId="2147483350"/>
            <ac:graphicFrameMk id="12" creationId="{52D2871B-C97E-4183-9AF1-227302F8D8CD}"/>
          </ac:graphicFrameMkLst>
        </pc:graphicFrameChg>
        <pc:graphicFrameChg chg="add del mod modGraphic">
          <ac:chgData name="Seun Osonuga" userId="6d4a9fd65a6bad53" providerId="LiveId" clId="{E7314609-1365-4DCD-8CF0-F580E23CD214}" dt="2024-08-01T15:39:44.216" v="582" actId="478"/>
          <ac:graphicFrameMkLst>
            <pc:docMk/>
            <pc:sldMk cId="3331175220" sldId="2147483350"/>
            <ac:graphicFrameMk id="16" creationId="{C14FAB1D-8DFC-4A43-81D1-AC8587057CCF}"/>
          </ac:graphicFrameMkLst>
        </pc:graphicFrameChg>
        <pc:cxnChg chg="add mod">
          <ac:chgData name="Seun Osonuga" userId="6d4a9fd65a6bad53" providerId="LiveId" clId="{E7314609-1365-4DCD-8CF0-F580E23CD214}" dt="2024-08-01T15:41:29.550" v="725" actId="14100"/>
          <ac:cxnSpMkLst>
            <pc:docMk/>
            <pc:sldMk cId="3331175220" sldId="2147483350"/>
            <ac:cxnSpMk id="13" creationId="{67C9716D-E8F4-499D-8491-F08D053A9514}"/>
          </ac:cxnSpMkLst>
        </pc:cxnChg>
      </pc:sldChg>
      <pc:sldChg chg="addSp delSp modSp add mod">
        <pc:chgData name="Seun Osonuga" userId="6d4a9fd65a6bad53" providerId="LiveId" clId="{E7314609-1365-4DCD-8CF0-F580E23CD214}" dt="2024-08-01T16:32:28.144" v="853" actId="20577"/>
        <pc:sldMkLst>
          <pc:docMk/>
          <pc:sldMk cId="3429625238" sldId="2147483351"/>
        </pc:sldMkLst>
        <pc:spChg chg="mod">
          <ac:chgData name="Seun Osonuga" userId="6d4a9fd65a6bad53" providerId="LiveId" clId="{E7314609-1365-4DCD-8CF0-F580E23CD214}" dt="2024-08-01T16:32:28.144" v="853" actId="20577"/>
          <ac:spMkLst>
            <pc:docMk/>
            <pc:sldMk cId="3429625238" sldId="2147483351"/>
            <ac:spMk id="79" creationId="{A1676573-A720-4D61-8D96-36566EDD4721}"/>
          </ac:spMkLst>
        </pc:spChg>
        <pc:spChg chg="add mod ord">
          <ac:chgData name="Seun Osonuga" userId="6d4a9fd65a6bad53" providerId="LiveId" clId="{E7314609-1365-4DCD-8CF0-F580E23CD214}" dt="2024-08-01T15:19:14.921" v="456" actId="554"/>
          <ac:spMkLst>
            <pc:docMk/>
            <pc:sldMk cId="3429625238" sldId="2147483351"/>
            <ac:spMk id="109" creationId="{924C1E36-712B-4E2C-937C-A68C2D5471D2}"/>
          </ac:spMkLst>
        </pc:spChg>
        <pc:spChg chg="mod">
          <ac:chgData name="Seun Osonuga" userId="6d4a9fd65a6bad53" providerId="LiveId" clId="{E7314609-1365-4DCD-8CF0-F580E23CD214}" dt="2024-08-01T15:47:37.045" v="767" actId="14100"/>
          <ac:spMkLst>
            <pc:docMk/>
            <pc:sldMk cId="3429625238" sldId="2147483351"/>
            <ac:spMk id="121" creationId="{3D62C117-5AC1-4C81-A914-A9A72E0DF50E}"/>
          </ac:spMkLst>
        </pc:spChg>
        <pc:spChg chg="add del mod">
          <ac:chgData name="Seun Osonuga" userId="6d4a9fd65a6bad53" providerId="LiveId" clId="{E7314609-1365-4DCD-8CF0-F580E23CD214}" dt="2024-08-01T15:19:54.969" v="480" actId="20577"/>
          <ac:spMkLst>
            <pc:docMk/>
            <pc:sldMk cId="3429625238" sldId="2147483351"/>
            <ac:spMk id="124" creationId="{9FA30770-16C5-4EC7-9F9E-D9075136DD05}"/>
          </ac:spMkLst>
        </pc:spChg>
        <pc:spChg chg="add mod">
          <ac:chgData name="Seun Osonuga" userId="6d4a9fd65a6bad53" providerId="LiveId" clId="{E7314609-1365-4DCD-8CF0-F580E23CD214}" dt="2024-08-01T15:20:18.699" v="485" actId="20577"/>
          <ac:spMkLst>
            <pc:docMk/>
            <pc:sldMk cId="3429625238" sldId="2147483351"/>
            <ac:spMk id="125" creationId="{91ED86C1-8406-48D5-B255-3BB37CE0CA20}"/>
          </ac:spMkLst>
        </pc:spChg>
        <pc:spChg chg="mod">
          <ac:chgData name="Seun Osonuga" userId="6d4a9fd65a6bad53" providerId="LiveId" clId="{E7314609-1365-4DCD-8CF0-F580E23CD214}" dt="2024-08-01T15:14:33.423" v="423" actId="20577"/>
          <ac:spMkLst>
            <pc:docMk/>
            <pc:sldMk cId="3429625238" sldId="2147483351"/>
            <ac:spMk id="142" creationId="{6A6F09AD-794F-4B0D-85B9-EFC22F4A97FB}"/>
          </ac:spMkLst>
        </pc:spChg>
        <pc:spChg chg="mod topLvl">
          <ac:chgData name="Seun Osonuga" userId="6d4a9fd65a6bad53" providerId="LiveId" clId="{E7314609-1365-4DCD-8CF0-F580E23CD214}" dt="2024-08-01T15:19:14.921" v="456" actId="554"/>
          <ac:spMkLst>
            <pc:docMk/>
            <pc:sldMk cId="3429625238" sldId="2147483351"/>
            <ac:spMk id="144" creationId="{5CE22FDE-5544-4C6A-9DAD-B437ADAF861F}"/>
          </ac:spMkLst>
        </pc:spChg>
        <pc:spChg chg="mod topLvl">
          <ac:chgData name="Seun Osonuga" userId="6d4a9fd65a6bad53" providerId="LiveId" clId="{E7314609-1365-4DCD-8CF0-F580E23CD214}" dt="2024-08-01T15:17:34.866" v="431" actId="165"/>
          <ac:spMkLst>
            <pc:docMk/>
            <pc:sldMk cId="3429625238" sldId="2147483351"/>
            <ac:spMk id="147" creationId="{971C9063-0933-4004-877F-8E2587C2AE5F}"/>
          </ac:spMkLst>
        </pc:spChg>
        <pc:spChg chg="mod topLvl">
          <ac:chgData name="Seun Osonuga" userId="6d4a9fd65a6bad53" providerId="LiveId" clId="{E7314609-1365-4DCD-8CF0-F580E23CD214}" dt="2024-08-01T15:19:30.831" v="458" actId="554"/>
          <ac:spMkLst>
            <pc:docMk/>
            <pc:sldMk cId="3429625238" sldId="2147483351"/>
            <ac:spMk id="148" creationId="{35184935-7122-4C1A-8FB4-7719F545CFBB}"/>
          </ac:spMkLst>
        </pc:spChg>
        <pc:spChg chg="add del mod topLvl">
          <ac:chgData name="Seun Osonuga" userId="6d4a9fd65a6bad53" providerId="LiveId" clId="{E7314609-1365-4DCD-8CF0-F580E23CD214}" dt="2024-08-01T15:17:58.190" v="448" actId="478"/>
          <ac:spMkLst>
            <pc:docMk/>
            <pc:sldMk cId="3429625238" sldId="2147483351"/>
            <ac:spMk id="150" creationId="{E6085849-293F-46BB-B2F4-2D128583292D}"/>
          </ac:spMkLst>
        </pc:spChg>
        <pc:spChg chg="add del mod topLvl">
          <ac:chgData name="Seun Osonuga" userId="6d4a9fd65a6bad53" providerId="LiveId" clId="{E7314609-1365-4DCD-8CF0-F580E23CD214}" dt="2024-08-01T15:18:47.870" v="453" actId="555"/>
          <ac:spMkLst>
            <pc:docMk/>
            <pc:sldMk cId="3429625238" sldId="2147483351"/>
            <ac:spMk id="153" creationId="{258AE297-0F3E-40C1-A0AA-217C33CD6BD8}"/>
          </ac:spMkLst>
        </pc:spChg>
        <pc:spChg chg="add del mod topLvl">
          <ac:chgData name="Seun Osonuga" userId="6d4a9fd65a6bad53" providerId="LiveId" clId="{E7314609-1365-4DCD-8CF0-F580E23CD214}" dt="2024-08-01T15:17:58.190" v="448" actId="478"/>
          <ac:spMkLst>
            <pc:docMk/>
            <pc:sldMk cId="3429625238" sldId="2147483351"/>
            <ac:spMk id="154" creationId="{4071BEE2-8B2B-48FF-8C4B-97857D65D3E4}"/>
          </ac:spMkLst>
        </pc:spChg>
        <pc:spChg chg="mod topLvl">
          <ac:chgData name="Seun Osonuga" userId="6d4a9fd65a6bad53" providerId="LiveId" clId="{E7314609-1365-4DCD-8CF0-F580E23CD214}" dt="2024-08-01T15:17:34.866" v="431" actId="165"/>
          <ac:spMkLst>
            <pc:docMk/>
            <pc:sldMk cId="3429625238" sldId="2147483351"/>
            <ac:spMk id="156" creationId="{CE35AA94-58A7-4B65-BA10-19765B542CF6}"/>
          </ac:spMkLst>
        </pc:spChg>
        <pc:spChg chg="mod topLvl">
          <ac:chgData name="Seun Osonuga" userId="6d4a9fd65a6bad53" providerId="LiveId" clId="{E7314609-1365-4DCD-8CF0-F580E23CD214}" dt="2024-08-01T15:23:20.889" v="499" actId="20577"/>
          <ac:spMkLst>
            <pc:docMk/>
            <pc:sldMk cId="3429625238" sldId="2147483351"/>
            <ac:spMk id="159" creationId="{65F67377-4B25-4DBA-A4EC-BB07456E38F3}"/>
          </ac:spMkLst>
        </pc:spChg>
        <pc:spChg chg="mod topLvl">
          <ac:chgData name="Seun Osonuga" userId="6d4a9fd65a6bad53" providerId="LiveId" clId="{E7314609-1365-4DCD-8CF0-F580E23CD214}" dt="2024-08-01T15:24:29.799" v="502" actId="20577"/>
          <ac:spMkLst>
            <pc:docMk/>
            <pc:sldMk cId="3429625238" sldId="2147483351"/>
            <ac:spMk id="160" creationId="{AB850BCF-DACB-435A-84DE-40CD1DBF9408}"/>
          </ac:spMkLst>
        </pc:spChg>
        <pc:spChg chg="del">
          <ac:chgData name="Seun Osonuga" userId="6d4a9fd65a6bad53" providerId="LiveId" clId="{E7314609-1365-4DCD-8CF0-F580E23CD214}" dt="2024-08-01T15:47:33.865" v="766" actId="478"/>
          <ac:spMkLst>
            <pc:docMk/>
            <pc:sldMk cId="3429625238" sldId="2147483351"/>
            <ac:spMk id="168" creationId="{27446404-5908-422E-B34D-508C6EF171DB}"/>
          </ac:spMkLst>
        </pc:spChg>
        <pc:grpChg chg="del">
          <ac:chgData name="Seun Osonuga" userId="6d4a9fd65a6bad53" providerId="LiveId" clId="{E7314609-1365-4DCD-8CF0-F580E23CD214}" dt="2024-08-01T15:17:34.866" v="431" actId="165"/>
          <ac:grpSpMkLst>
            <pc:docMk/>
            <pc:sldMk cId="3429625238" sldId="2147483351"/>
            <ac:grpSpMk id="2" creationId="{57508B3C-1BD2-41AA-8B3C-8C921DE611B2}"/>
          </ac:grpSpMkLst>
        </pc:grpChg>
        <pc:graphicFrameChg chg="add mod">
          <ac:chgData name="Seun Osonuga" userId="6d4a9fd65a6bad53" providerId="LiveId" clId="{E7314609-1365-4DCD-8CF0-F580E23CD214}" dt="2024-08-01T15:19:34.999" v="460" actId="554"/>
          <ac:graphicFrameMkLst>
            <pc:docMk/>
            <pc:sldMk cId="3429625238" sldId="2147483351"/>
            <ac:graphicFrameMk id="122" creationId="{1A336398-FD62-4451-9C63-788E1DA99173}"/>
          </ac:graphicFrameMkLst>
        </pc:graphicFrameChg>
        <pc:graphicFrameChg chg="add mod">
          <ac:chgData name="Seun Osonuga" userId="6d4a9fd65a6bad53" providerId="LiveId" clId="{E7314609-1365-4DCD-8CF0-F580E23CD214}" dt="2024-08-01T15:19:39.835" v="461" actId="554"/>
          <ac:graphicFrameMkLst>
            <pc:docMk/>
            <pc:sldMk cId="3429625238" sldId="2147483351"/>
            <ac:graphicFrameMk id="126" creationId="{3891EA26-5B83-4773-B8F9-609A0A9D0D73}"/>
          </ac:graphicFrameMkLst>
        </pc:graphicFrameChg>
        <pc:graphicFrameChg chg="mod topLvl">
          <ac:chgData name="Seun Osonuga" userId="6d4a9fd65a6bad53" providerId="LiveId" clId="{E7314609-1365-4DCD-8CF0-F580E23CD214}" dt="2024-08-01T15:19:34.999" v="460" actId="554"/>
          <ac:graphicFrameMkLst>
            <pc:docMk/>
            <pc:sldMk cId="3429625238" sldId="2147483351"/>
            <ac:graphicFrameMk id="145" creationId="{10699E75-899E-4D34-B45C-78B412C0DE46}"/>
          </ac:graphicFrameMkLst>
        </pc:graphicFrameChg>
        <pc:graphicFrameChg chg="mod topLvl">
          <ac:chgData name="Seun Osonuga" userId="6d4a9fd65a6bad53" providerId="LiveId" clId="{E7314609-1365-4DCD-8CF0-F580E23CD214}" dt="2024-08-01T15:19:39.835" v="461" actId="554"/>
          <ac:graphicFrameMkLst>
            <pc:docMk/>
            <pc:sldMk cId="3429625238" sldId="2147483351"/>
            <ac:graphicFrameMk id="149" creationId="{9485D3F6-2DBA-4DFE-B4A9-CE624AD20733}"/>
          </ac:graphicFrameMkLst>
        </pc:graphicFrameChg>
        <pc:graphicFrameChg chg="mod topLvl">
          <ac:chgData name="Seun Osonuga" userId="6d4a9fd65a6bad53" providerId="LiveId" clId="{E7314609-1365-4DCD-8CF0-F580E23CD214}" dt="2024-08-01T15:17:34.866" v="431" actId="165"/>
          <ac:graphicFrameMkLst>
            <pc:docMk/>
            <pc:sldMk cId="3429625238" sldId="2147483351"/>
            <ac:graphicFrameMk id="157" creationId="{066454A8-8B9A-4BAC-8166-BD886D2702A0}"/>
          </ac:graphicFrameMkLst>
        </pc:graphicFrameChg>
        <pc:graphicFrameChg chg="mod topLvl">
          <ac:chgData name="Seun Osonuga" userId="6d4a9fd65a6bad53" providerId="LiveId" clId="{E7314609-1365-4DCD-8CF0-F580E23CD214}" dt="2024-08-01T15:17:34.866" v="431" actId="165"/>
          <ac:graphicFrameMkLst>
            <pc:docMk/>
            <pc:sldMk cId="3429625238" sldId="2147483351"/>
            <ac:graphicFrameMk id="161" creationId="{AB9CE0A8-3DB0-4583-BA9D-1056C3E1CEC6}"/>
          </ac:graphicFrameMkLst>
        </pc:graphicFrameChg>
        <pc:cxnChg chg="add mod">
          <ac:chgData name="Seun Osonuga" userId="6d4a9fd65a6bad53" providerId="LiveId" clId="{E7314609-1365-4DCD-8CF0-F580E23CD214}" dt="2024-08-01T15:19:22.885" v="457" actId="554"/>
          <ac:cxnSpMkLst>
            <pc:docMk/>
            <pc:sldMk cId="3429625238" sldId="2147483351"/>
            <ac:cxnSpMk id="123" creationId="{95879CB8-5D72-42BA-8572-636DDB9F6669}"/>
          </ac:cxnSpMkLst>
        </pc:cxnChg>
        <pc:cxnChg chg="mod topLvl">
          <ac:chgData name="Seun Osonuga" userId="6d4a9fd65a6bad53" providerId="LiveId" clId="{E7314609-1365-4DCD-8CF0-F580E23CD214}" dt="2024-08-01T15:19:22.885" v="457" actId="554"/>
          <ac:cxnSpMkLst>
            <pc:docMk/>
            <pc:sldMk cId="3429625238" sldId="2147483351"/>
            <ac:cxnSpMk id="146" creationId="{8F2895D2-5F3F-4C9E-909D-8C918F4687AF}"/>
          </ac:cxnSpMkLst>
        </pc:cxnChg>
        <pc:cxnChg chg="add del mod topLvl">
          <ac:chgData name="Seun Osonuga" userId="6d4a9fd65a6bad53" providerId="LiveId" clId="{E7314609-1365-4DCD-8CF0-F580E23CD214}" dt="2024-08-01T15:17:58.190" v="448" actId="478"/>
          <ac:cxnSpMkLst>
            <pc:docMk/>
            <pc:sldMk cId="3429625238" sldId="2147483351"/>
            <ac:cxnSpMk id="152" creationId="{A096806B-275E-4991-AC08-5CE2ECC39DC1}"/>
          </ac:cxnSpMkLst>
        </pc:cxnChg>
        <pc:cxnChg chg="mod topLvl">
          <ac:chgData name="Seun Osonuga" userId="6d4a9fd65a6bad53" providerId="LiveId" clId="{E7314609-1365-4DCD-8CF0-F580E23CD214}" dt="2024-08-01T15:19:22.885" v="457" actId="554"/>
          <ac:cxnSpMkLst>
            <pc:docMk/>
            <pc:sldMk cId="3429625238" sldId="2147483351"/>
            <ac:cxnSpMk id="158" creationId="{4BD2ED3A-BF4A-458D-A2EC-6930C365D46C}"/>
          </ac:cxnSpMkLst>
        </pc:cxnChg>
      </pc:sldChg>
      <pc:sldChg chg="addSp delSp modSp add mod">
        <pc:chgData name="Seun Osonuga" userId="6d4a9fd65a6bad53" providerId="LiveId" clId="{E7314609-1365-4DCD-8CF0-F580E23CD214}" dt="2024-08-01T21:59:06.801" v="3367"/>
        <pc:sldMkLst>
          <pc:docMk/>
          <pc:sldMk cId="3279234734" sldId="2147483352"/>
        </pc:sldMkLst>
        <pc:spChg chg="mod">
          <ac:chgData name="Seun Osonuga" userId="6d4a9fd65a6bad53" providerId="LiveId" clId="{E7314609-1365-4DCD-8CF0-F580E23CD214}" dt="2024-08-01T16:38:34.054" v="947" actId="12789"/>
          <ac:spMkLst>
            <pc:docMk/>
            <pc:sldMk cId="3279234734" sldId="2147483352"/>
            <ac:spMk id="81" creationId="{3190BE78-F6BF-4694-BB8A-06DDFBA23464}"/>
          </ac:spMkLst>
        </pc:spChg>
        <pc:spChg chg="mod">
          <ac:chgData name="Seun Osonuga" userId="6d4a9fd65a6bad53" providerId="LiveId" clId="{E7314609-1365-4DCD-8CF0-F580E23CD214}" dt="2024-08-01T16:58:12.558" v="1085" actId="14100"/>
          <ac:spMkLst>
            <pc:docMk/>
            <pc:sldMk cId="3279234734" sldId="2147483352"/>
            <ac:spMk id="85" creationId="{F9166D16-B5C2-4579-8585-314BAB1CB8CA}"/>
          </ac:spMkLst>
        </pc:spChg>
        <pc:spChg chg="mod">
          <ac:chgData name="Seun Osonuga" userId="6d4a9fd65a6bad53" providerId="LiveId" clId="{E7314609-1365-4DCD-8CF0-F580E23CD214}" dt="2024-08-01T16:58:12.893" v="1086" actId="14100"/>
          <ac:spMkLst>
            <pc:docMk/>
            <pc:sldMk cId="3279234734" sldId="2147483352"/>
            <ac:spMk id="86" creationId="{12A7A32F-2A00-4722-97C2-3FCEDB47A07D}"/>
          </ac:spMkLst>
        </pc:spChg>
        <pc:spChg chg="mod">
          <ac:chgData name="Seun Osonuga" userId="6d4a9fd65a6bad53" providerId="LiveId" clId="{E7314609-1365-4DCD-8CF0-F580E23CD214}" dt="2024-08-01T16:34:42.442" v="893" actId="1035"/>
          <ac:spMkLst>
            <pc:docMk/>
            <pc:sldMk cId="3279234734" sldId="2147483352"/>
            <ac:spMk id="88" creationId="{F5E03D2B-16D1-4AB0-89C7-82EA43BF1FEA}"/>
          </ac:spMkLst>
        </pc:spChg>
        <pc:spChg chg="mod">
          <ac:chgData name="Seun Osonuga" userId="6d4a9fd65a6bad53" providerId="LiveId" clId="{E7314609-1365-4DCD-8CF0-F580E23CD214}" dt="2024-08-01T21:58:22.511" v="3366" actId="20577"/>
          <ac:spMkLst>
            <pc:docMk/>
            <pc:sldMk cId="3279234734" sldId="2147483352"/>
            <ac:spMk id="90" creationId="{3A1411BA-337D-4147-80F1-225EBD3C3719}"/>
          </ac:spMkLst>
        </pc:spChg>
        <pc:spChg chg="del mod">
          <ac:chgData name="Seun Osonuga" userId="6d4a9fd65a6bad53" providerId="LiveId" clId="{E7314609-1365-4DCD-8CF0-F580E23CD214}" dt="2024-08-01T18:50:12.604" v="1810" actId="478"/>
          <ac:spMkLst>
            <pc:docMk/>
            <pc:sldMk cId="3279234734" sldId="2147483352"/>
            <ac:spMk id="95" creationId="{BE050158-54A5-41D9-BA5D-B14F6F24298F}"/>
          </ac:spMkLst>
        </pc:spChg>
        <pc:spChg chg="mod">
          <ac:chgData name="Seun Osonuga" userId="6d4a9fd65a6bad53" providerId="LiveId" clId="{E7314609-1365-4DCD-8CF0-F580E23CD214}" dt="2024-08-01T16:38:09.499" v="940" actId="20577"/>
          <ac:spMkLst>
            <pc:docMk/>
            <pc:sldMk cId="3279234734" sldId="2147483352"/>
            <ac:spMk id="96" creationId="{15E68DDF-D534-487C-9655-F75253184C73}"/>
          </ac:spMkLst>
        </pc:spChg>
        <pc:spChg chg="mod">
          <ac:chgData name="Seun Osonuga" userId="6d4a9fd65a6bad53" providerId="LiveId" clId="{E7314609-1365-4DCD-8CF0-F580E23CD214}" dt="2024-08-01T16:39:05.220" v="952" actId="20577"/>
          <ac:spMkLst>
            <pc:docMk/>
            <pc:sldMk cId="3279234734" sldId="2147483352"/>
            <ac:spMk id="97" creationId="{81B1A1C3-84B0-48B2-8D42-2283FC75C9BE}"/>
          </ac:spMkLst>
        </pc:spChg>
        <pc:spChg chg="add mod ord">
          <ac:chgData name="Seun Osonuga" userId="6d4a9fd65a6bad53" providerId="LiveId" clId="{E7314609-1365-4DCD-8CF0-F580E23CD214}" dt="2024-08-01T18:50:28.650" v="1817" actId="14100"/>
          <ac:spMkLst>
            <pc:docMk/>
            <pc:sldMk cId="3279234734" sldId="2147483352"/>
            <ac:spMk id="99" creationId="{F9E06AD5-22A8-4D86-ABBD-5CC2EF37B40A}"/>
          </ac:spMkLst>
        </pc:spChg>
        <pc:spChg chg="add mod ord">
          <ac:chgData name="Seun Osonuga" userId="6d4a9fd65a6bad53" providerId="LiveId" clId="{E7314609-1365-4DCD-8CF0-F580E23CD214}" dt="2024-08-01T18:51:31.594" v="1844" actId="14100"/>
          <ac:spMkLst>
            <pc:docMk/>
            <pc:sldMk cId="3279234734" sldId="2147483352"/>
            <ac:spMk id="100" creationId="{20B5DC33-75EC-4182-BA72-60B4F48EE086}"/>
          </ac:spMkLst>
        </pc:spChg>
        <pc:spChg chg="add mod">
          <ac:chgData name="Seun Osonuga" userId="6d4a9fd65a6bad53" providerId="LiveId" clId="{E7314609-1365-4DCD-8CF0-F580E23CD214}" dt="2024-08-01T21:59:06.801" v="3367"/>
          <ac:spMkLst>
            <pc:docMk/>
            <pc:sldMk cId="3279234734" sldId="2147483352"/>
            <ac:spMk id="101" creationId="{BBBFF8E2-F404-495F-B8B6-EDEB382ABEC9}"/>
          </ac:spMkLst>
        </pc:spChg>
        <pc:spChg chg="mod">
          <ac:chgData name="Seun Osonuga" userId="6d4a9fd65a6bad53" providerId="LiveId" clId="{E7314609-1365-4DCD-8CF0-F580E23CD214}" dt="2024-08-01T16:55:11.676" v="1037" actId="12789"/>
          <ac:spMkLst>
            <pc:docMk/>
            <pc:sldMk cId="3279234734" sldId="2147483352"/>
            <ac:spMk id="109" creationId="{09F4C969-7FA5-44E4-BDBD-3C83F335A923}"/>
          </ac:spMkLst>
        </pc:spChg>
        <pc:spChg chg="mod">
          <ac:chgData name="Seun Osonuga" userId="6d4a9fd65a6bad53" providerId="LiveId" clId="{E7314609-1365-4DCD-8CF0-F580E23CD214}" dt="2024-08-01T16:55:57.906" v="1072" actId="12789"/>
          <ac:spMkLst>
            <pc:docMk/>
            <pc:sldMk cId="3279234734" sldId="2147483352"/>
            <ac:spMk id="117" creationId="{D63352D3-F318-457F-B163-7059725CD788}"/>
          </ac:spMkLst>
        </pc:spChg>
        <pc:grpChg chg="mod">
          <ac:chgData name="Seun Osonuga" userId="6d4a9fd65a6bad53" providerId="LiveId" clId="{E7314609-1365-4DCD-8CF0-F580E23CD214}" dt="2024-08-01T16:55:11.676" v="1037" actId="12789"/>
          <ac:grpSpMkLst>
            <pc:docMk/>
            <pc:sldMk cId="3279234734" sldId="2147483352"/>
            <ac:grpSpMk id="94" creationId="{FE6BA20B-9966-443D-92FF-2143FF2B2F51}"/>
          </ac:grpSpMkLst>
        </pc:grpChg>
        <pc:grpChg chg="mod">
          <ac:chgData name="Seun Osonuga" userId="6d4a9fd65a6bad53" providerId="LiveId" clId="{E7314609-1365-4DCD-8CF0-F580E23CD214}" dt="2024-08-01T16:55:57.906" v="1072" actId="12789"/>
          <ac:grpSpMkLst>
            <pc:docMk/>
            <pc:sldMk cId="3279234734" sldId="2147483352"/>
            <ac:grpSpMk id="114" creationId="{3CBDA7E3-9E14-4FDE-822B-B5ED830902E0}"/>
          </ac:grpSpMkLst>
        </pc:grpChg>
        <pc:grpChg chg="mod">
          <ac:chgData name="Seun Osonuga" userId="6d4a9fd65a6bad53" providerId="LiveId" clId="{E7314609-1365-4DCD-8CF0-F580E23CD214}" dt="2024-08-01T16:48:27.219" v="998" actId="1038"/>
          <ac:grpSpMkLst>
            <pc:docMk/>
            <pc:sldMk cId="3279234734" sldId="2147483352"/>
            <ac:grpSpMk id="120" creationId="{37CF1A4C-AB65-4E44-AECB-08D1C25AA75D}"/>
          </ac:grpSpMkLst>
        </pc:grpChg>
        <pc:graphicFrameChg chg="mod">
          <ac:chgData name="Seun Osonuga" userId="6d4a9fd65a6bad53" providerId="LiveId" clId="{E7314609-1365-4DCD-8CF0-F580E23CD214}" dt="2024-08-01T18:50:20.144" v="1813" actId="12788"/>
          <ac:graphicFrameMkLst>
            <pc:docMk/>
            <pc:sldMk cId="3279234734" sldId="2147483352"/>
            <ac:graphicFrameMk id="5" creationId="{0D365958-1319-4553-A41C-9EE73C8DB9AA}"/>
          </ac:graphicFrameMkLst>
        </pc:graphicFrameChg>
        <pc:graphicFrameChg chg="del mod">
          <ac:chgData name="Seun Osonuga" userId="6d4a9fd65a6bad53" providerId="LiveId" clId="{E7314609-1365-4DCD-8CF0-F580E23CD214}" dt="2024-08-01T16:54:39.992" v="1022" actId="478"/>
          <ac:graphicFrameMkLst>
            <pc:docMk/>
            <pc:sldMk cId="3279234734" sldId="2147483352"/>
            <ac:graphicFrameMk id="10" creationId="{64EFDE24-4E9B-4631-8A08-B6C96F6BCA68}"/>
          </ac:graphicFrameMkLst>
        </pc:graphicFrameChg>
        <pc:graphicFrameChg chg="add del mod">
          <ac:chgData name="Seun Osonuga" userId="6d4a9fd65a6bad53" providerId="LiveId" clId="{E7314609-1365-4DCD-8CF0-F580E23CD214}" dt="2024-08-01T16:55:26.146" v="1039" actId="478"/>
          <ac:graphicFrameMkLst>
            <pc:docMk/>
            <pc:sldMk cId="3279234734" sldId="2147483352"/>
            <ac:graphicFrameMk id="83" creationId="{161A8522-90C7-46CE-9544-3C332F16DD8B}"/>
          </ac:graphicFrameMkLst>
        </pc:graphicFrameChg>
        <pc:graphicFrameChg chg="mod">
          <ac:chgData name="Seun Osonuga" userId="6d4a9fd65a6bad53" providerId="LiveId" clId="{E7314609-1365-4DCD-8CF0-F580E23CD214}" dt="2024-08-01T16:54:22.470" v="1020" actId="692"/>
          <ac:graphicFrameMkLst>
            <pc:docMk/>
            <pc:sldMk cId="3279234734" sldId="2147483352"/>
            <ac:graphicFrameMk id="92" creationId="{AD37689D-10D0-4E81-960F-6B0407AA942D}"/>
          </ac:graphicFrameMkLst>
        </pc:graphicFrameChg>
        <pc:graphicFrameChg chg="mod">
          <ac:chgData name="Seun Osonuga" userId="6d4a9fd65a6bad53" providerId="LiveId" clId="{E7314609-1365-4DCD-8CF0-F580E23CD214}" dt="2024-08-01T16:55:40.506" v="1070" actId="552"/>
          <ac:graphicFrameMkLst>
            <pc:docMk/>
            <pc:sldMk cId="3279234734" sldId="2147483352"/>
            <ac:graphicFrameMk id="93" creationId="{CB7D7731-E58B-4B18-87F3-9B276552B57F}"/>
          </ac:graphicFrameMkLst>
        </pc:graphicFrameChg>
        <pc:graphicFrameChg chg="add mod">
          <ac:chgData name="Seun Osonuga" userId="6d4a9fd65a6bad53" providerId="LiveId" clId="{E7314609-1365-4DCD-8CF0-F580E23CD214}" dt="2024-08-01T16:55:57.906" v="1072" actId="12789"/>
          <ac:graphicFrameMkLst>
            <pc:docMk/>
            <pc:sldMk cId="3279234734" sldId="2147483352"/>
            <ac:graphicFrameMk id="98" creationId="{8352E3B5-080C-46DE-B7F7-0E64A6BA5CFE}"/>
          </ac:graphicFrameMkLst>
        </pc:graphicFrameChg>
        <pc:picChg chg="mod">
          <ac:chgData name="Seun Osonuga" userId="6d4a9fd65a6bad53" providerId="LiveId" clId="{E7314609-1365-4DCD-8CF0-F580E23CD214}" dt="2024-08-01T16:55:11.676" v="1037" actId="12789"/>
          <ac:picMkLst>
            <pc:docMk/>
            <pc:sldMk cId="3279234734" sldId="2147483352"/>
            <ac:picMk id="112" creationId="{35083E9B-1361-4CBA-AD1D-8571FD3CF5A7}"/>
          </ac:picMkLst>
        </pc:picChg>
        <pc:picChg chg="mod">
          <ac:chgData name="Seun Osonuga" userId="6d4a9fd65a6bad53" providerId="LiveId" clId="{E7314609-1365-4DCD-8CF0-F580E23CD214}" dt="2024-08-01T16:55:57.906" v="1072" actId="12789"/>
          <ac:picMkLst>
            <pc:docMk/>
            <pc:sldMk cId="3279234734" sldId="2147483352"/>
            <ac:picMk id="119" creationId="{B062C421-4AC6-4FC4-AE77-9705FAC2D508}"/>
          </ac:picMkLst>
        </pc:picChg>
        <pc:cxnChg chg="mod">
          <ac:chgData name="Seun Osonuga" userId="6d4a9fd65a6bad53" providerId="LiveId" clId="{E7314609-1365-4DCD-8CF0-F580E23CD214}" dt="2024-08-01T16:34:47.070" v="895" actId="1035"/>
          <ac:cxnSpMkLst>
            <pc:docMk/>
            <pc:sldMk cId="3279234734" sldId="2147483352"/>
            <ac:cxnSpMk id="87" creationId="{9570E63A-F846-4D2A-9007-EDC88D30AB8F}"/>
          </ac:cxnSpMkLst>
        </pc:cxnChg>
      </pc:sldChg>
      <pc:sldChg chg="addSp delSp modSp add mod">
        <pc:chgData name="Seun Osonuga" userId="6d4a9fd65a6bad53" providerId="LiveId" clId="{E7314609-1365-4DCD-8CF0-F580E23CD214}" dt="2024-08-01T21:57:43.874" v="3359"/>
        <pc:sldMkLst>
          <pc:docMk/>
          <pc:sldMk cId="3027516248" sldId="2147483353"/>
        </pc:sldMkLst>
        <pc:spChg chg="add del mod">
          <ac:chgData name="Seun Osonuga" userId="6d4a9fd65a6bad53" providerId="LiveId" clId="{E7314609-1365-4DCD-8CF0-F580E23CD214}" dt="2024-08-01T18:33:49.216" v="1205" actId="478"/>
          <ac:spMkLst>
            <pc:docMk/>
            <pc:sldMk cId="3027516248" sldId="2147483353"/>
            <ac:spMk id="7" creationId="{A120A587-7410-4799-98A3-54DDC06176CB}"/>
          </ac:spMkLst>
        </pc:spChg>
        <pc:spChg chg="add del mod">
          <ac:chgData name="Seun Osonuga" userId="6d4a9fd65a6bad53" providerId="LiveId" clId="{E7314609-1365-4DCD-8CF0-F580E23CD214}" dt="2024-08-01T18:36:54.956" v="1260"/>
          <ac:spMkLst>
            <pc:docMk/>
            <pc:sldMk cId="3027516248" sldId="2147483353"/>
            <ac:spMk id="8" creationId="{3BBD2575-9CAC-4EF7-B68C-55EEC613427B}"/>
          </ac:spMkLst>
        </pc:spChg>
        <pc:spChg chg="add del mod">
          <ac:chgData name="Seun Osonuga" userId="6d4a9fd65a6bad53" providerId="LiveId" clId="{E7314609-1365-4DCD-8CF0-F580E23CD214}" dt="2024-08-01T18:36:54.956" v="1260"/>
          <ac:spMkLst>
            <pc:docMk/>
            <pc:sldMk cId="3027516248" sldId="2147483353"/>
            <ac:spMk id="9" creationId="{6A46A3B7-0CF1-421E-827A-E6DC7B44E5E1}"/>
          </ac:spMkLst>
        </pc:spChg>
        <pc:spChg chg="add del mod">
          <ac:chgData name="Seun Osonuga" userId="6d4a9fd65a6bad53" providerId="LiveId" clId="{E7314609-1365-4DCD-8CF0-F580E23CD214}" dt="2024-08-01T18:43:25.145" v="1451"/>
          <ac:spMkLst>
            <pc:docMk/>
            <pc:sldMk cId="3027516248" sldId="2147483353"/>
            <ac:spMk id="10" creationId="{0494F6E2-AE3B-4120-9A38-EC2E9E9FAC82}"/>
          </ac:spMkLst>
        </pc:spChg>
        <pc:spChg chg="add del mod">
          <ac:chgData name="Seun Osonuga" userId="6d4a9fd65a6bad53" providerId="LiveId" clId="{E7314609-1365-4DCD-8CF0-F580E23CD214}" dt="2024-08-01T18:43:25.145" v="1451"/>
          <ac:spMkLst>
            <pc:docMk/>
            <pc:sldMk cId="3027516248" sldId="2147483353"/>
            <ac:spMk id="11" creationId="{A9960BF5-423A-4AFF-B964-A602E62F4EEC}"/>
          </ac:spMkLst>
        </pc:spChg>
        <pc:spChg chg="mod">
          <ac:chgData name="Seun Osonuga" userId="6d4a9fd65a6bad53" providerId="LiveId" clId="{E7314609-1365-4DCD-8CF0-F580E23CD214}" dt="2024-08-01T17:03:13.015" v="1101" actId="12788"/>
          <ac:spMkLst>
            <pc:docMk/>
            <pc:sldMk cId="3027516248" sldId="2147483353"/>
            <ac:spMk id="13" creationId="{50B90408-B2C2-44FF-A8F9-724864263CED}"/>
          </ac:spMkLst>
        </pc:spChg>
        <pc:spChg chg="add del mod">
          <ac:chgData name="Seun Osonuga" userId="6d4a9fd65a6bad53" providerId="LiveId" clId="{E7314609-1365-4DCD-8CF0-F580E23CD214}" dt="2024-08-01T18:48:01.365" v="1568"/>
          <ac:spMkLst>
            <pc:docMk/>
            <pc:sldMk cId="3027516248" sldId="2147483353"/>
            <ac:spMk id="14" creationId="{6FE12A3E-EB8A-4A47-8F67-607D0E80BE30}"/>
          </ac:spMkLst>
        </pc:spChg>
        <pc:spChg chg="mod">
          <ac:chgData name="Seun Osonuga" userId="6d4a9fd65a6bad53" providerId="LiveId" clId="{E7314609-1365-4DCD-8CF0-F580E23CD214}" dt="2024-08-01T17:02:00.617" v="1096" actId="20577"/>
          <ac:spMkLst>
            <pc:docMk/>
            <pc:sldMk cId="3027516248" sldId="2147483353"/>
            <ac:spMk id="79" creationId="{A1676573-A720-4D61-8D96-36566EDD4721}"/>
          </ac:spMkLst>
        </pc:spChg>
        <pc:spChg chg="mod">
          <ac:chgData name="Seun Osonuga" userId="6d4a9fd65a6bad53" providerId="LiveId" clId="{E7314609-1365-4DCD-8CF0-F580E23CD214}" dt="2024-08-01T17:03:20.195" v="1104" actId="12788"/>
          <ac:spMkLst>
            <pc:docMk/>
            <pc:sldMk cId="3027516248" sldId="2147483353"/>
            <ac:spMk id="81" creationId="{3190BE78-F6BF-4694-BB8A-06DDFBA23464}"/>
          </ac:spMkLst>
        </pc:spChg>
        <pc:spChg chg="del">
          <ac:chgData name="Seun Osonuga" userId="6d4a9fd65a6bad53" providerId="LiveId" clId="{E7314609-1365-4DCD-8CF0-F580E23CD214}" dt="2024-08-01T17:02:59.448" v="1098" actId="478"/>
          <ac:spMkLst>
            <pc:docMk/>
            <pc:sldMk cId="3027516248" sldId="2147483353"/>
            <ac:spMk id="90" creationId="{3A1411BA-337D-4147-80F1-225EBD3C3719}"/>
          </ac:spMkLst>
        </pc:spChg>
        <pc:spChg chg="del">
          <ac:chgData name="Seun Osonuga" userId="6d4a9fd65a6bad53" providerId="LiveId" clId="{E7314609-1365-4DCD-8CF0-F580E23CD214}" dt="2024-08-01T17:02:59.448" v="1098" actId="478"/>
          <ac:spMkLst>
            <pc:docMk/>
            <pc:sldMk cId="3027516248" sldId="2147483353"/>
            <ac:spMk id="91" creationId="{0136B833-1CD6-4ABF-8936-D1C865D84B90}"/>
          </ac:spMkLst>
        </pc:spChg>
        <pc:spChg chg="del">
          <ac:chgData name="Seun Osonuga" userId="6d4a9fd65a6bad53" providerId="LiveId" clId="{E7314609-1365-4DCD-8CF0-F580E23CD214}" dt="2024-08-01T17:02:55.455" v="1097" actId="478"/>
          <ac:spMkLst>
            <pc:docMk/>
            <pc:sldMk cId="3027516248" sldId="2147483353"/>
            <ac:spMk id="95" creationId="{BE050158-54A5-41D9-BA5D-B14F6F24298F}"/>
          </ac:spMkLst>
        </pc:spChg>
        <pc:spChg chg="del">
          <ac:chgData name="Seun Osonuga" userId="6d4a9fd65a6bad53" providerId="LiveId" clId="{E7314609-1365-4DCD-8CF0-F580E23CD214}" dt="2024-08-01T17:02:59.448" v="1098" actId="478"/>
          <ac:spMkLst>
            <pc:docMk/>
            <pc:sldMk cId="3027516248" sldId="2147483353"/>
            <ac:spMk id="96" creationId="{15E68DDF-D534-487C-9655-F75253184C73}"/>
          </ac:spMkLst>
        </pc:spChg>
        <pc:spChg chg="del">
          <ac:chgData name="Seun Osonuga" userId="6d4a9fd65a6bad53" providerId="LiveId" clId="{E7314609-1365-4DCD-8CF0-F580E23CD214}" dt="2024-08-01T17:02:59.448" v="1098" actId="478"/>
          <ac:spMkLst>
            <pc:docMk/>
            <pc:sldMk cId="3027516248" sldId="2147483353"/>
            <ac:spMk id="97" creationId="{81B1A1C3-84B0-48B2-8D42-2283FC75C9BE}"/>
          </ac:spMkLst>
        </pc:spChg>
        <pc:spChg chg="mod">
          <ac:chgData name="Seun Osonuga" userId="6d4a9fd65a6bad53" providerId="LiveId" clId="{E7314609-1365-4DCD-8CF0-F580E23CD214}" dt="2024-08-01T18:31:21.728" v="1190"/>
          <ac:spMkLst>
            <pc:docMk/>
            <pc:sldMk cId="3027516248" sldId="2147483353"/>
            <ac:spMk id="100" creationId="{377709E1-82D4-4C9B-9F4B-F13B97226D63}"/>
          </ac:spMkLst>
        </pc:spChg>
        <pc:spChg chg="mod">
          <ac:chgData name="Seun Osonuga" userId="6d4a9fd65a6bad53" providerId="LiveId" clId="{E7314609-1365-4DCD-8CF0-F580E23CD214}" dt="2024-08-01T18:31:21.728" v="1190"/>
          <ac:spMkLst>
            <pc:docMk/>
            <pc:sldMk cId="3027516248" sldId="2147483353"/>
            <ac:spMk id="101" creationId="{16460DA5-6FBF-4573-8480-1FB25772E172}"/>
          </ac:spMkLst>
        </pc:spChg>
        <pc:spChg chg="mod">
          <ac:chgData name="Seun Osonuga" userId="6d4a9fd65a6bad53" providerId="LiveId" clId="{E7314609-1365-4DCD-8CF0-F580E23CD214}" dt="2024-08-01T18:31:21.728" v="1190"/>
          <ac:spMkLst>
            <pc:docMk/>
            <pc:sldMk cId="3027516248" sldId="2147483353"/>
            <ac:spMk id="102" creationId="{3FE24F91-EC83-42B5-8828-444CEAED4140}"/>
          </ac:spMkLst>
        </pc:spChg>
        <pc:spChg chg="add del mod">
          <ac:chgData name="Seun Osonuga" userId="6d4a9fd65a6bad53" providerId="LiveId" clId="{E7314609-1365-4DCD-8CF0-F580E23CD214}" dt="2024-08-01T18:36:54.956" v="1260"/>
          <ac:spMkLst>
            <pc:docMk/>
            <pc:sldMk cId="3027516248" sldId="2147483353"/>
            <ac:spMk id="103" creationId="{7BB02FB8-5C54-4894-ADA0-D53D3B2FF093}"/>
          </ac:spMkLst>
        </pc:spChg>
        <pc:spChg chg="del mod ord">
          <ac:chgData name="Seun Osonuga" userId="6d4a9fd65a6bad53" providerId="LiveId" clId="{E7314609-1365-4DCD-8CF0-F580E23CD214}" dt="2024-08-01T18:44:25.345" v="1461" actId="478"/>
          <ac:spMkLst>
            <pc:docMk/>
            <pc:sldMk cId="3027516248" sldId="2147483353"/>
            <ac:spMk id="104" creationId="{5A92B35F-CBDD-4A53-AFAF-494E4A485D58}"/>
          </ac:spMkLst>
        </pc:spChg>
        <pc:spChg chg="add del mod">
          <ac:chgData name="Seun Osonuga" userId="6d4a9fd65a6bad53" providerId="LiveId" clId="{E7314609-1365-4DCD-8CF0-F580E23CD214}" dt="2024-08-01T18:43:25.145" v="1451"/>
          <ac:spMkLst>
            <pc:docMk/>
            <pc:sldMk cId="3027516248" sldId="2147483353"/>
            <ac:spMk id="105" creationId="{EE414AC8-41AB-49C8-BA16-9D14D3D4006D}"/>
          </ac:spMkLst>
        </pc:spChg>
        <pc:spChg chg="mod ord">
          <ac:chgData name="Seun Osonuga" userId="6d4a9fd65a6bad53" providerId="LiveId" clId="{E7314609-1365-4DCD-8CF0-F580E23CD214}" dt="2024-08-01T18:42:57.080" v="1445"/>
          <ac:spMkLst>
            <pc:docMk/>
            <pc:sldMk cId="3027516248" sldId="2147483353"/>
            <ac:spMk id="106" creationId="{5AD8D0AE-A512-4819-903E-96157EEDE0A9}"/>
          </ac:spMkLst>
        </pc:spChg>
        <pc:spChg chg="mod ord">
          <ac:chgData name="Seun Osonuga" userId="6d4a9fd65a6bad53" providerId="LiveId" clId="{E7314609-1365-4DCD-8CF0-F580E23CD214}" dt="2024-08-01T18:44:20.188" v="1460" actId="14100"/>
          <ac:spMkLst>
            <pc:docMk/>
            <pc:sldMk cId="3027516248" sldId="2147483353"/>
            <ac:spMk id="107" creationId="{620411A3-F2A3-40D7-97C5-9F59D25D860C}"/>
          </ac:spMkLst>
        </pc:spChg>
        <pc:spChg chg="add del mod ord">
          <ac:chgData name="Seun Osonuga" userId="6d4a9fd65a6bad53" providerId="LiveId" clId="{E7314609-1365-4DCD-8CF0-F580E23CD214}" dt="2024-08-01T18:48:01.365" v="1568"/>
          <ac:spMkLst>
            <pc:docMk/>
            <pc:sldMk cId="3027516248" sldId="2147483353"/>
            <ac:spMk id="108" creationId="{FCE422E7-1D36-4804-9115-01DA35B04279}"/>
          </ac:spMkLst>
        </pc:spChg>
        <pc:spChg chg="mod ord">
          <ac:chgData name="Seun Osonuga" userId="6d4a9fd65a6bad53" providerId="LiveId" clId="{E7314609-1365-4DCD-8CF0-F580E23CD214}" dt="2024-08-01T18:47:33.666" v="1564"/>
          <ac:spMkLst>
            <pc:docMk/>
            <pc:sldMk cId="3027516248" sldId="2147483353"/>
            <ac:spMk id="110" creationId="{AB8C4940-4780-4003-967B-3F13C98F7412}"/>
          </ac:spMkLst>
        </pc:spChg>
        <pc:spChg chg="mod ord">
          <ac:chgData name="Seun Osonuga" userId="6d4a9fd65a6bad53" providerId="LiveId" clId="{E7314609-1365-4DCD-8CF0-F580E23CD214}" dt="2024-08-01T18:49:49.520" v="1809" actId="207"/>
          <ac:spMkLst>
            <pc:docMk/>
            <pc:sldMk cId="3027516248" sldId="2147483353"/>
            <ac:spMk id="111" creationId="{6F4A9B62-AB22-4DB0-AFC7-418C400C3466}"/>
          </ac:spMkLst>
        </pc:spChg>
        <pc:spChg chg="add del mod">
          <ac:chgData name="Seun Osonuga" userId="6d4a9fd65a6bad53" providerId="LiveId" clId="{E7314609-1365-4DCD-8CF0-F580E23CD214}" dt="2024-08-01T21:57:43.187" v="3358" actId="478"/>
          <ac:spMkLst>
            <pc:docMk/>
            <pc:sldMk cId="3027516248" sldId="2147483353"/>
            <ac:spMk id="113" creationId="{D38BEADC-62B2-40A0-8E03-45E69BF4845A}"/>
          </ac:spMkLst>
        </pc:spChg>
        <pc:spChg chg="add mod">
          <ac:chgData name="Seun Osonuga" userId="6d4a9fd65a6bad53" providerId="LiveId" clId="{E7314609-1365-4DCD-8CF0-F580E23CD214}" dt="2024-08-01T21:57:43.874" v="3359"/>
          <ac:spMkLst>
            <pc:docMk/>
            <pc:sldMk cId="3027516248" sldId="2147483353"/>
            <ac:spMk id="115" creationId="{D9CC381D-B909-45C4-9911-EEF1773CAB69}"/>
          </ac:spMkLst>
        </pc:spChg>
        <pc:grpChg chg="add del mod">
          <ac:chgData name="Seun Osonuga" userId="6d4a9fd65a6bad53" providerId="LiveId" clId="{E7314609-1365-4DCD-8CF0-F580E23CD214}" dt="2024-08-01T18:31:56.707" v="1198" actId="478"/>
          <ac:grpSpMkLst>
            <pc:docMk/>
            <pc:sldMk cId="3027516248" sldId="2147483353"/>
            <ac:grpSpMk id="99" creationId="{C1A4874A-2C70-4916-BDA8-B6B4FB35521D}"/>
          </ac:grpSpMkLst>
        </pc:grpChg>
        <pc:graphicFrameChg chg="mod">
          <ac:chgData name="Seun Osonuga" userId="6d4a9fd65a6bad53" providerId="LiveId" clId="{E7314609-1365-4DCD-8CF0-F580E23CD214}" dt="2024-08-01T18:40:28.736" v="1397" actId="14100"/>
          <ac:graphicFrameMkLst>
            <pc:docMk/>
            <pc:sldMk cId="3027516248" sldId="2147483353"/>
            <ac:graphicFrameMk id="5" creationId="{0D365958-1319-4553-A41C-9EE73C8DB9AA}"/>
          </ac:graphicFrameMkLst>
        </pc:graphicFrameChg>
        <pc:graphicFrameChg chg="add del mod">
          <ac:chgData name="Seun Osonuga" userId="6d4a9fd65a6bad53" providerId="LiveId" clId="{E7314609-1365-4DCD-8CF0-F580E23CD214}" dt="2024-08-01T17:04:03.425" v="1107" actId="478"/>
          <ac:graphicFrameMkLst>
            <pc:docMk/>
            <pc:sldMk cId="3027516248" sldId="2147483353"/>
            <ac:graphicFrameMk id="6" creationId="{63CE38CB-AD7B-48A6-9C4F-6A00453AC80A}"/>
          </ac:graphicFrameMkLst>
        </pc:graphicFrameChg>
        <pc:graphicFrameChg chg="del">
          <ac:chgData name="Seun Osonuga" userId="6d4a9fd65a6bad53" providerId="LiveId" clId="{E7314609-1365-4DCD-8CF0-F580E23CD214}" dt="2024-08-01T17:02:59.448" v="1098" actId="478"/>
          <ac:graphicFrameMkLst>
            <pc:docMk/>
            <pc:sldMk cId="3027516248" sldId="2147483353"/>
            <ac:graphicFrameMk id="82" creationId="{A414131B-6382-4347-BBAD-911BA5B836FD}"/>
          </ac:graphicFrameMkLst>
        </pc:graphicFrameChg>
        <pc:graphicFrameChg chg="add mod">
          <ac:chgData name="Seun Osonuga" userId="6d4a9fd65a6bad53" providerId="LiveId" clId="{E7314609-1365-4DCD-8CF0-F580E23CD214}" dt="2024-08-01T17:14:37.553" v="1171" actId="1036"/>
          <ac:graphicFrameMkLst>
            <pc:docMk/>
            <pc:sldMk cId="3027516248" sldId="2147483353"/>
            <ac:graphicFrameMk id="83" creationId="{C3794453-990D-4BB6-87FA-978BDCEF7793}"/>
          </ac:graphicFrameMkLst>
        </pc:graphicFrameChg>
        <pc:graphicFrameChg chg="del">
          <ac:chgData name="Seun Osonuga" userId="6d4a9fd65a6bad53" providerId="LiveId" clId="{E7314609-1365-4DCD-8CF0-F580E23CD214}" dt="2024-08-01T17:02:59.448" v="1098" actId="478"/>
          <ac:graphicFrameMkLst>
            <pc:docMk/>
            <pc:sldMk cId="3027516248" sldId="2147483353"/>
            <ac:graphicFrameMk id="89" creationId="{FEE28285-81CA-4F43-B4C9-5C936FC60816}"/>
          </ac:graphicFrameMkLst>
        </pc:graphicFrameChg>
        <pc:graphicFrameChg chg="mod">
          <ac:chgData name="Seun Osonuga" userId="6d4a9fd65a6bad53" providerId="LiveId" clId="{E7314609-1365-4DCD-8CF0-F580E23CD214}" dt="2024-08-01T18:31:45.897" v="1197" actId="113"/>
          <ac:graphicFrameMkLst>
            <pc:docMk/>
            <pc:sldMk cId="3027516248" sldId="2147483353"/>
            <ac:graphicFrameMk id="92" creationId="{AD37689D-10D0-4E81-960F-6B0407AA942D}"/>
          </ac:graphicFrameMkLst>
        </pc:graphicFrameChg>
        <pc:graphicFrameChg chg="mod">
          <ac:chgData name="Seun Osonuga" userId="6d4a9fd65a6bad53" providerId="LiveId" clId="{E7314609-1365-4DCD-8CF0-F580E23CD214}" dt="2024-08-01T18:33:14.521" v="1202"/>
          <ac:graphicFrameMkLst>
            <pc:docMk/>
            <pc:sldMk cId="3027516248" sldId="2147483353"/>
            <ac:graphicFrameMk id="98" creationId="{8352E3B5-080C-46DE-B7F7-0E64A6BA5CFE}"/>
          </ac:graphicFrameMkLst>
        </pc:graphicFrameChg>
      </pc:sldChg>
      <pc:sldChg chg="addSp delSp modSp add mod">
        <pc:chgData name="Seun Osonuga" userId="6d4a9fd65a6bad53" providerId="LiveId" clId="{E7314609-1365-4DCD-8CF0-F580E23CD214}" dt="2024-08-01T21:57:33.477" v="3357"/>
        <pc:sldMkLst>
          <pc:docMk/>
          <pc:sldMk cId="1306023515" sldId="2147483354"/>
        </pc:sldMkLst>
        <pc:spChg chg="mod">
          <ac:chgData name="Seun Osonuga" userId="6d4a9fd65a6bad53" providerId="LiveId" clId="{E7314609-1365-4DCD-8CF0-F580E23CD214}" dt="2024-08-01T19:03:07.562" v="1868" actId="20577"/>
          <ac:spMkLst>
            <pc:docMk/>
            <pc:sldMk cId="1306023515" sldId="2147483354"/>
            <ac:spMk id="79" creationId="{A1676573-A720-4D61-8D96-36566EDD4721}"/>
          </ac:spMkLst>
        </pc:spChg>
        <pc:spChg chg="mod">
          <ac:chgData name="Seun Osonuga" userId="6d4a9fd65a6bad53" providerId="LiveId" clId="{E7314609-1365-4DCD-8CF0-F580E23CD214}" dt="2024-08-01T19:05:19.682" v="1973" actId="554"/>
          <ac:spMkLst>
            <pc:docMk/>
            <pc:sldMk cId="1306023515" sldId="2147483354"/>
            <ac:spMk id="80" creationId="{549EDD33-D1C7-4B4F-89CC-EF19992C51AF}"/>
          </ac:spMkLst>
        </pc:spChg>
        <pc:spChg chg="add del mod">
          <ac:chgData name="Seun Osonuga" userId="6d4a9fd65a6bad53" providerId="LiveId" clId="{E7314609-1365-4DCD-8CF0-F580E23CD214}" dt="2024-08-01T21:57:28.704" v="3356" actId="478"/>
          <ac:spMkLst>
            <pc:docMk/>
            <pc:sldMk cId="1306023515" sldId="2147483354"/>
            <ac:spMk id="82" creationId="{FB498B44-2822-40F2-B1F1-D62DBBADFB92}"/>
          </ac:spMkLst>
        </pc:spChg>
        <pc:spChg chg="mod">
          <ac:chgData name="Seun Osonuga" userId="6d4a9fd65a6bad53" providerId="LiveId" clId="{E7314609-1365-4DCD-8CF0-F580E23CD214}" dt="2024-08-01T19:05:19.682" v="1973" actId="554"/>
          <ac:spMkLst>
            <pc:docMk/>
            <pc:sldMk cId="1306023515" sldId="2147483354"/>
            <ac:spMk id="88" creationId="{F5E03D2B-16D1-4AB0-89C7-82EA43BF1FEA}"/>
          </ac:spMkLst>
        </pc:spChg>
        <pc:spChg chg="add mod">
          <ac:chgData name="Seun Osonuga" userId="6d4a9fd65a6bad53" providerId="LiveId" clId="{E7314609-1365-4DCD-8CF0-F580E23CD214}" dt="2024-08-01T21:57:33.477" v="3357"/>
          <ac:spMkLst>
            <pc:docMk/>
            <pc:sldMk cId="1306023515" sldId="2147483354"/>
            <ac:spMk id="89" creationId="{A6DD3D30-FBA9-4459-AC6E-B8A22835C0F4}"/>
          </ac:spMkLst>
        </pc:spChg>
        <pc:cxnChg chg="mod">
          <ac:chgData name="Seun Osonuga" userId="6d4a9fd65a6bad53" providerId="LiveId" clId="{E7314609-1365-4DCD-8CF0-F580E23CD214}" dt="2024-08-01T19:05:35.042" v="1976" actId="1035"/>
          <ac:cxnSpMkLst>
            <pc:docMk/>
            <pc:sldMk cId="1306023515" sldId="2147483354"/>
            <ac:cxnSpMk id="15" creationId="{9B0A205E-6B87-4A15-8257-D9B26E9AE02A}"/>
          </ac:cxnSpMkLst>
        </pc:cxnChg>
        <pc:cxnChg chg="mod">
          <ac:chgData name="Seun Osonuga" userId="6d4a9fd65a6bad53" providerId="LiveId" clId="{E7314609-1365-4DCD-8CF0-F580E23CD214}" dt="2024-08-01T19:05:35.042" v="1976" actId="1035"/>
          <ac:cxnSpMkLst>
            <pc:docMk/>
            <pc:sldMk cId="1306023515" sldId="2147483354"/>
            <ac:cxnSpMk id="87" creationId="{9570E63A-F846-4D2A-9007-EDC88D30AB8F}"/>
          </ac:cxnSpMkLst>
        </pc:cxnChg>
      </pc:sldChg>
      <pc:sldChg chg="delSp modSp add del mod">
        <pc:chgData name="Seun Osonuga" userId="6d4a9fd65a6bad53" providerId="LiveId" clId="{E7314609-1365-4DCD-8CF0-F580E23CD214}" dt="2024-08-01T21:28:07.853" v="3093" actId="47"/>
        <pc:sldMkLst>
          <pc:docMk/>
          <pc:sldMk cId="1130303106" sldId="2147483355"/>
        </pc:sldMkLst>
        <pc:spChg chg="mod">
          <ac:chgData name="Seun Osonuga" userId="6d4a9fd65a6bad53" providerId="LiveId" clId="{E7314609-1365-4DCD-8CF0-F580E23CD214}" dt="2024-08-01T19:36:53.576" v="2154" actId="20577"/>
          <ac:spMkLst>
            <pc:docMk/>
            <pc:sldMk cId="1130303106" sldId="2147483355"/>
            <ac:spMk id="79" creationId="{A1676573-A720-4D61-8D96-36566EDD4721}"/>
          </ac:spMkLst>
        </pc:spChg>
        <pc:spChg chg="mod">
          <ac:chgData name="Seun Osonuga" userId="6d4a9fd65a6bad53" providerId="LiveId" clId="{E7314609-1365-4DCD-8CF0-F580E23CD214}" dt="2024-08-01T19:37:40.357" v="2174" actId="20577"/>
          <ac:spMkLst>
            <pc:docMk/>
            <pc:sldMk cId="1130303106" sldId="2147483355"/>
            <ac:spMk id="80" creationId="{549EDD33-D1C7-4B4F-89CC-EF19992C51AF}"/>
          </ac:spMkLst>
        </pc:spChg>
        <pc:spChg chg="mod">
          <ac:chgData name="Seun Osonuga" userId="6d4a9fd65a6bad53" providerId="LiveId" clId="{E7314609-1365-4DCD-8CF0-F580E23CD214}" dt="2024-08-01T19:35:28.957" v="2132" actId="20577"/>
          <ac:spMkLst>
            <pc:docMk/>
            <pc:sldMk cId="1130303106" sldId="2147483355"/>
            <ac:spMk id="81" creationId="{3190BE78-F6BF-4694-BB8A-06DDFBA23464}"/>
          </ac:spMkLst>
        </pc:spChg>
        <pc:spChg chg="del">
          <ac:chgData name="Seun Osonuga" userId="6d4a9fd65a6bad53" providerId="LiveId" clId="{E7314609-1365-4DCD-8CF0-F580E23CD214}" dt="2024-08-01T19:14:06.740" v="2013" actId="478"/>
          <ac:spMkLst>
            <pc:docMk/>
            <pc:sldMk cId="1130303106" sldId="2147483355"/>
            <ac:spMk id="82" creationId="{FB498B44-2822-40F2-B1F1-D62DBBADFB92}"/>
          </ac:spMkLst>
        </pc:spChg>
        <pc:spChg chg="ord">
          <ac:chgData name="Seun Osonuga" userId="6d4a9fd65a6bad53" providerId="LiveId" clId="{E7314609-1365-4DCD-8CF0-F580E23CD214}" dt="2024-08-01T19:32:07.554" v="2114" actId="167"/>
          <ac:spMkLst>
            <pc:docMk/>
            <pc:sldMk cId="1130303106" sldId="2147483355"/>
            <ac:spMk id="85" creationId="{F9166D16-B5C2-4579-8585-314BAB1CB8CA}"/>
          </ac:spMkLst>
        </pc:spChg>
        <pc:spChg chg="mod">
          <ac:chgData name="Seun Osonuga" userId="6d4a9fd65a6bad53" providerId="LiveId" clId="{E7314609-1365-4DCD-8CF0-F580E23CD214}" dt="2024-08-01T19:36:42.399" v="2153" actId="20577"/>
          <ac:spMkLst>
            <pc:docMk/>
            <pc:sldMk cId="1130303106" sldId="2147483355"/>
            <ac:spMk id="88" creationId="{F5E03D2B-16D1-4AB0-89C7-82EA43BF1FEA}"/>
          </ac:spMkLst>
        </pc:spChg>
        <pc:spChg chg="mod">
          <ac:chgData name="Seun Osonuga" userId="6d4a9fd65a6bad53" providerId="LiveId" clId="{E7314609-1365-4DCD-8CF0-F580E23CD214}" dt="2024-08-01T19:18:14.686" v="2052" actId="14100"/>
          <ac:spMkLst>
            <pc:docMk/>
            <pc:sldMk cId="1130303106" sldId="2147483355"/>
            <ac:spMk id="107" creationId="{620411A3-F2A3-40D7-97C5-9F59D25D860C}"/>
          </ac:spMkLst>
        </pc:spChg>
        <pc:spChg chg="mod ord">
          <ac:chgData name="Seun Osonuga" userId="6d4a9fd65a6bad53" providerId="LiveId" clId="{E7314609-1365-4DCD-8CF0-F580E23CD214}" dt="2024-08-01T19:32:28.568" v="2118" actId="170"/>
          <ac:spMkLst>
            <pc:docMk/>
            <pc:sldMk cId="1130303106" sldId="2147483355"/>
            <ac:spMk id="111" creationId="{6F4A9B62-AB22-4DB0-AFC7-418C400C3466}"/>
          </ac:spMkLst>
        </pc:spChg>
        <pc:graphicFrameChg chg="mod">
          <ac:chgData name="Seun Osonuga" userId="6d4a9fd65a6bad53" providerId="LiveId" clId="{E7314609-1365-4DCD-8CF0-F580E23CD214}" dt="2024-08-01T19:34:38.303" v="2130" actId="207"/>
          <ac:graphicFrameMkLst>
            <pc:docMk/>
            <pc:sldMk cId="1130303106" sldId="2147483355"/>
            <ac:graphicFrameMk id="83" creationId="{C3794453-990D-4BB6-87FA-978BDCEF7793}"/>
          </ac:graphicFrameMkLst>
        </pc:graphicFrameChg>
        <pc:graphicFrameChg chg="mod">
          <ac:chgData name="Seun Osonuga" userId="6d4a9fd65a6bad53" providerId="LiveId" clId="{E7314609-1365-4DCD-8CF0-F580E23CD214}" dt="2024-08-01T19:31:53.217" v="2112" actId="167"/>
          <ac:graphicFrameMkLst>
            <pc:docMk/>
            <pc:sldMk cId="1130303106" sldId="2147483355"/>
            <ac:graphicFrameMk id="92" creationId="{AD37689D-10D0-4E81-960F-6B0407AA942D}"/>
          </ac:graphicFrameMkLst>
        </pc:graphicFrameChg>
        <pc:graphicFrameChg chg="mod">
          <ac:chgData name="Seun Osonuga" userId="6d4a9fd65a6bad53" providerId="LiveId" clId="{E7314609-1365-4DCD-8CF0-F580E23CD214}" dt="2024-08-01T19:31:53.217" v="2112" actId="167"/>
          <ac:graphicFrameMkLst>
            <pc:docMk/>
            <pc:sldMk cId="1130303106" sldId="2147483355"/>
            <ac:graphicFrameMk id="93" creationId="{CB7D7731-E58B-4B18-87F3-9B276552B57F}"/>
          </ac:graphicFrameMkLst>
        </pc:graphicFrameChg>
        <pc:graphicFrameChg chg="mod">
          <ac:chgData name="Seun Osonuga" userId="6d4a9fd65a6bad53" providerId="LiveId" clId="{E7314609-1365-4DCD-8CF0-F580E23CD214}" dt="2024-08-01T19:31:53.217" v="2112" actId="167"/>
          <ac:graphicFrameMkLst>
            <pc:docMk/>
            <pc:sldMk cId="1130303106" sldId="2147483355"/>
            <ac:graphicFrameMk id="98" creationId="{8352E3B5-080C-46DE-B7F7-0E64A6BA5CFE}"/>
          </ac:graphicFrameMkLst>
        </pc:graphicFrameChg>
      </pc:sldChg>
      <pc:sldChg chg="addSp modSp add mod">
        <pc:chgData name="Seun Osonuga" userId="6d4a9fd65a6bad53" providerId="LiveId" clId="{E7314609-1365-4DCD-8CF0-F580E23CD214}" dt="2024-08-01T21:27:36.452" v="3092" actId="14100"/>
        <pc:sldMkLst>
          <pc:docMk/>
          <pc:sldMk cId="2102578367" sldId="2147483356"/>
        </pc:sldMkLst>
        <pc:spChg chg="mod">
          <ac:chgData name="Seun Osonuga" userId="6d4a9fd65a6bad53" providerId="LiveId" clId="{E7314609-1365-4DCD-8CF0-F580E23CD214}" dt="2024-08-01T19:46:11.489" v="2329" actId="14100"/>
          <ac:spMkLst>
            <pc:docMk/>
            <pc:sldMk cId="2102578367" sldId="2147483356"/>
            <ac:spMk id="80" creationId="{549EDD33-D1C7-4B4F-89CC-EF19992C51AF}"/>
          </ac:spMkLst>
        </pc:spChg>
        <pc:spChg chg="mod ord">
          <ac:chgData name="Seun Osonuga" userId="6d4a9fd65a6bad53" providerId="LiveId" clId="{E7314609-1365-4DCD-8CF0-F580E23CD214}" dt="2024-08-01T19:48:03.265" v="2392" actId="167"/>
          <ac:spMkLst>
            <pc:docMk/>
            <pc:sldMk cId="2102578367" sldId="2147483356"/>
            <ac:spMk id="85" creationId="{F9166D16-B5C2-4579-8585-314BAB1CB8CA}"/>
          </ac:spMkLst>
        </pc:spChg>
        <pc:spChg chg="mod">
          <ac:chgData name="Seun Osonuga" userId="6d4a9fd65a6bad53" providerId="LiveId" clId="{E7314609-1365-4DCD-8CF0-F580E23CD214}" dt="2024-08-01T21:27:36.452" v="3092" actId="14100"/>
          <ac:spMkLst>
            <pc:docMk/>
            <pc:sldMk cId="2102578367" sldId="2147483356"/>
            <ac:spMk id="86" creationId="{12A7A32F-2A00-4722-97C2-3FCEDB47A07D}"/>
          </ac:spMkLst>
        </pc:spChg>
        <pc:spChg chg="mod ord">
          <ac:chgData name="Seun Osonuga" userId="6d4a9fd65a6bad53" providerId="LiveId" clId="{E7314609-1365-4DCD-8CF0-F580E23CD214}" dt="2024-08-01T21:20:12.014" v="2412" actId="14100"/>
          <ac:spMkLst>
            <pc:docMk/>
            <pc:sldMk cId="2102578367" sldId="2147483356"/>
            <ac:spMk id="111" creationId="{6F4A9B62-AB22-4DB0-AFC7-418C400C3466}"/>
          </ac:spMkLst>
        </pc:spChg>
        <pc:grpChg chg="mod">
          <ac:chgData name="Seun Osonuga" userId="6d4a9fd65a6bad53" providerId="LiveId" clId="{E7314609-1365-4DCD-8CF0-F580E23CD214}" dt="2024-08-01T19:42:42.677" v="2241" actId="1037"/>
          <ac:grpSpMkLst>
            <pc:docMk/>
            <pc:sldMk cId="2102578367" sldId="2147483356"/>
            <ac:grpSpMk id="94" creationId="{FE6BA20B-9966-443D-92FF-2143FF2B2F51}"/>
          </ac:grpSpMkLst>
        </pc:grpChg>
        <pc:grpChg chg="mod">
          <ac:chgData name="Seun Osonuga" userId="6d4a9fd65a6bad53" providerId="LiveId" clId="{E7314609-1365-4DCD-8CF0-F580E23CD214}" dt="2024-08-01T19:42:42.677" v="2241" actId="1037"/>
          <ac:grpSpMkLst>
            <pc:docMk/>
            <pc:sldMk cId="2102578367" sldId="2147483356"/>
            <ac:grpSpMk id="114" creationId="{3CBDA7E3-9E14-4FDE-822B-B5ED830902E0}"/>
          </ac:grpSpMkLst>
        </pc:grpChg>
        <pc:grpChg chg="mod">
          <ac:chgData name="Seun Osonuga" userId="6d4a9fd65a6bad53" providerId="LiveId" clId="{E7314609-1365-4DCD-8CF0-F580E23CD214}" dt="2024-08-01T19:42:42.677" v="2241" actId="1037"/>
          <ac:grpSpMkLst>
            <pc:docMk/>
            <pc:sldMk cId="2102578367" sldId="2147483356"/>
            <ac:grpSpMk id="120" creationId="{37CF1A4C-AB65-4E44-AECB-08D1C25AA75D}"/>
          </ac:grpSpMkLst>
        </pc:grpChg>
        <pc:graphicFrameChg chg="add mod">
          <ac:chgData name="Seun Osonuga" userId="6d4a9fd65a6bad53" providerId="LiveId" clId="{E7314609-1365-4DCD-8CF0-F580E23CD214}" dt="2024-08-01T19:48:44.055" v="2408" actId="113"/>
          <ac:graphicFrameMkLst>
            <pc:docMk/>
            <pc:sldMk cId="2102578367" sldId="2147483356"/>
            <ac:graphicFrameMk id="82" creationId="{04923A61-1D39-41F3-A8F0-D03DA9F728D1}"/>
          </ac:graphicFrameMkLst>
        </pc:graphicFrameChg>
        <pc:graphicFrameChg chg="mod">
          <ac:chgData name="Seun Osonuga" userId="6d4a9fd65a6bad53" providerId="LiveId" clId="{E7314609-1365-4DCD-8CF0-F580E23CD214}" dt="2024-08-01T19:49:14.395" v="2410" actId="2711"/>
          <ac:graphicFrameMkLst>
            <pc:docMk/>
            <pc:sldMk cId="2102578367" sldId="2147483356"/>
            <ac:graphicFrameMk id="83" creationId="{C3794453-990D-4BB6-87FA-978BDCEF7793}"/>
          </ac:graphicFrameMkLst>
        </pc:graphicFrameChg>
        <pc:graphicFrameChg chg="add mod">
          <ac:chgData name="Seun Osonuga" userId="6d4a9fd65a6bad53" providerId="LiveId" clId="{E7314609-1365-4DCD-8CF0-F580E23CD214}" dt="2024-08-01T19:47:55.115" v="2390" actId="167"/>
          <ac:graphicFrameMkLst>
            <pc:docMk/>
            <pc:sldMk cId="2102578367" sldId="2147483356"/>
            <ac:graphicFrameMk id="89" creationId="{0E2077CD-6EAF-448B-A1EC-DFB76FC7707F}"/>
          </ac:graphicFrameMkLst>
        </pc:graphicFrameChg>
        <pc:graphicFrameChg chg="add mod">
          <ac:chgData name="Seun Osonuga" userId="6d4a9fd65a6bad53" providerId="LiveId" clId="{E7314609-1365-4DCD-8CF0-F580E23CD214}" dt="2024-08-01T19:47:55.115" v="2390" actId="167"/>
          <ac:graphicFrameMkLst>
            <pc:docMk/>
            <pc:sldMk cId="2102578367" sldId="2147483356"/>
            <ac:graphicFrameMk id="90" creationId="{782E0207-A19C-4E80-97CB-B2DFCC729850}"/>
          </ac:graphicFrameMkLst>
        </pc:graphicFrameChg>
        <pc:graphicFrameChg chg="mod">
          <ac:chgData name="Seun Osonuga" userId="6d4a9fd65a6bad53" providerId="LiveId" clId="{E7314609-1365-4DCD-8CF0-F580E23CD214}" dt="2024-08-01T19:47:55.115" v="2390" actId="167"/>
          <ac:graphicFrameMkLst>
            <pc:docMk/>
            <pc:sldMk cId="2102578367" sldId="2147483356"/>
            <ac:graphicFrameMk id="92" creationId="{AD37689D-10D0-4E81-960F-6B0407AA942D}"/>
          </ac:graphicFrameMkLst>
        </pc:graphicFrameChg>
        <pc:graphicFrameChg chg="mod">
          <ac:chgData name="Seun Osonuga" userId="6d4a9fd65a6bad53" providerId="LiveId" clId="{E7314609-1365-4DCD-8CF0-F580E23CD214}" dt="2024-08-01T19:47:55.115" v="2390" actId="167"/>
          <ac:graphicFrameMkLst>
            <pc:docMk/>
            <pc:sldMk cId="2102578367" sldId="2147483356"/>
            <ac:graphicFrameMk id="93" creationId="{CB7D7731-E58B-4B18-87F3-9B276552B57F}"/>
          </ac:graphicFrameMkLst>
        </pc:graphicFrameChg>
        <pc:graphicFrameChg chg="mod">
          <ac:chgData name="Seun Osonuga" userId="6d4a9fd65a6bad53" providerId="LiveId" clId="{E7314609-1365-4DCD-8CF0-F580E23CD214}" dt="2024-08-01T19:47:55.115" v="2390" actId="167"/>
          <ac:graphicFrameMkLst>
            <pc:docMk/>
            <pc:sldMk cId="2102578367" sldId="2147483356"/>
            <ac:graphicFrameMk id="98" creationId="{8352E3B5-080C-46DE-B7F7-0E64A6BA5CFE}"/>
          </ac:graphicFrameMkLst>
        </pc:graphicFrameChg>
      </pc:sldChg>
      <pc:sldChg chg="addSp delSp modSp add mod">
        <pc:chgData name="Seun Osonuga" userId="6d4a9fd65a6bad53" providerId="LiveId" clId="{E7314609-1365-4DCD-8CF0-F580E23CD214}" dt="2024-08-01T21:57:19.618" v="3355"/>
        <pc:sldMkLst>
          <pc:docMk/>
          <pc:sldMk cId="544316277" sldId="2147483357"/>
        </pc:sldMkLst>
        <pc:spChg chg="mod">
          <ac:chgData name="Seun Osonuga" userId="6d4a9fd65a6bad53" providerId="LiveId" clId="{E7314609-1365-4DCD-8CF0-F580E23CD214}" dt="2024-08-01T21:34:00.003" v="3111" actId="12788"/>
          <ac:spMkLst>
            <pc:docMk/>
            <pc:sldMk cId="544316277" sldId="2147483357"/>
            <ac:spMk id="13" creationId="{50B90408-B2C2-44FF-A8F9-724864263CED}"/>
          </ac:spMkLst>
        </pc:spChg>
        <pc:spChg chg="mod">
          <ac:chgData name="Seun Osonuga" userId="6d4a9fd65a6bad53" providerId="LiveId" clId="{E7314609-1365-4DCD-8CF0-F580E23CD214}" dt="2024-08-01T21:29:51.264" v="3100" actId="20577"/>
          <ac:spMkLst>
            <pc:docMk/>
            <pc:sldMk cId="544316277" sldId="2147483357"/>
            <ac:spMk id="79" creationId="{A1676573-A720-4D61-8D96-36566EDD4721}"/>
          </ac:spMkLst>
        </pc:spChg>
        <pc:spChg chg="mod">
          <ac:chgData name="Seun Osonuga" userId="6d4a9fd65a6bad53" providerId="LiveId" clId="{E7314609-1365-4DCD-8CF0-F580E23CD214}" dt="2024-08-01T21:35:27.937" v="3181" actId="20577"/>
          <ac:spMkLst>
            <pc:docMk/>
            <pc:sldMk cId="544316277" sldId="2147483357"/>
            <ac:spMk id="80" creationId="{549EDD33-D1C7-4B4F-89CC-EF19992C51AF}"/>
          </ac:spMkLst>
        </pc:spChg>
        <pc:spChg chg="mod">
          <ac:chgData name="Seun Osonuga" userId="6d4a9fd65a6bad53" providerId="LiveId" clId="{E7314609-1365-4DCD-8CF0-F580E23CD214}" dt="2024-08-01T21:34:05.774" v="3112" actId="12789"/>
          <ac:spMkLst>
            <pc:docMk/>
            <pc:sldMk cId="544316277" sldId="2147483357"/>
            <ac:spMk id="81" creationId="{3190BE78-F6BF-4694-BB8A-06DDFBA23464}"/>
          </ac:spMkLst>
        </pc:spChg>
        <pc:spChg chg="mod">
          <ac:chgData name="Seun Osonuga" userId="6d4a9fd65a6bad53" providerId="LiveId" clId="{E7314609-1365-4DCD-8CF0-F580E23CD214}" dt="2024-08-01T21:47:01.793" v="3273" actId="20577"/>
          <ac:spMkLst>
            <pc:docMk/>
            <pc:sldMk cId="544316277" sldId="2147483357"/>
            <ac:spMk id="86" creationId="{12A7A32F-2A00-4722-97C2-3FCEDB47A07D}"/>
          </ac:spMkLst>
        </pc:spChg>
        <pc:spChg chg="mod">
          <ac:chgData name="Seun Osonuga" userId="6d4a9fd65a6bad53" providerId="LiveId" clId="{E7314609-1365-4DCD-8CF0-F580E23CD214}" dt="2024-08-01T21:34:49.733" v="3152" actId="20577"/>
          <ac:spMkLst>
            <pc:docMk/>
            <pc:sldMk cId="544316277" sldId="2147483357"/>
            <ac:spMk id="88" creationId="{F5E03D2B-16D1-4AB0-89C7-82EA43BF1FEA}"/>
          </ac:spMkLst>
        </pc:spChg>
        <pc:spChg chg="add del mod">
          <ac:chgData name="Seun Osonuga" userId="6d4a9fd65a6bad53" providerId="LiveId" clId="{E7314609-1365-4DCD-8CF0-F580E23CD214}" dt="2024-08-01T21:57:18.252" v="3354" actId="478"/>
          <ac:spMkLst>
            <pc:docMk/>
            <pc:sldMk cId="544316277" sldId="2147483357"/>
            <ac:spMk id="91" creationId="{FC8D3B30-B58E-4BF7-9279-D26A28F7BE4D}"/>
          </ac:spMkLst>
        </pc:spChg>
        <pc:spChg chg="add mod">
          <ac:chgData name="Seun Osonuga" userId="6d4a9fd65a6bad53" providerId="LiveId" clId="{E7314609-1365-4DCD-8CF0-F580E23CD214}" dt="2024-08-01T21:57:19.618" v="3355"/>
          <ac:spMkLst>
            <pc:docMk/>
            <pc:sldMk cId="544316277" sldId="2147483357"/>
            <ac:spMk id="95" creationId="{092B6718-B2B3-47EA-A901-141890A01252}"/>
          </ac:spMkLst>
        </pc:spChg>
        <pc:spChg chg="del">
          <ac:chgData name="Seun Osonuga" userId="6d4a9fd65a6bad53" providerId="LiveId" clId="{E7314609-1365-4DCD-8CF0-F580E23CD214}" dt="2024-08-01T21:33:06.153" v="3102" actId="478"/>
          <ac:spMkLst>
            <pc:docMk/>
            <pc:sldMk cId="544316277" sldId="2147483357"/>
            <ac:spMk id="107" creationId="{620411A3-F2A3-40D7-97C5-9F59D25D860C}"/>
          </ac:spMkLst>
        </pc:spChg>
        <pc:spChg chg="mod">
          <ac:chgData name="Seun Osonuga" userId="6d4a9fd65a6bad53" providerId="LiveId" clId="{E7314609-1365-4DCD-8CF0-F580E23CD214}" dt="2024-08-01T21:46:18.069" v="3255" actId="14100"/>
          <ac:spMkLst>
            <pc:docMk/>
            <pc:sldMk cId="544316277" sldId="2147483357"/>
            <ac:spMk id="111" creationId="{6F4A9B62-AB22-4DB0-AFC7-418C400C3466}"/>
          </ac:spMkLst>
        </pc:spChg>
        <pc:grpChg chg="mod">
          <ac:chgData name="Seun Osonuga" userId="6d4a9fd65a6bad53" providerId="LiveId" clId="{E7314609-1365-4DCD-8CF0-F580E23CD214}" dt="2024-08-01T21:45:52.820" v="3254" actId="1038"/>
          <ac:grpSpMkLst>
            <pc:docMk/>
            <pc:sldMk cId="544316277" sldId="2147483357"/>
            <ac:grpSpMk id="94" creationId="{FE6BA20B-9966-443D-92FF-2143FF2B2F51}"/>
          </ac:grpSpMkLst>
        </pc:grpChg>
        <pc:grpChg chg="mod">
          <ac:chgData name="Seun Osonuga" userId="6d4a9fd65a6bad53" providerId="LiveId" clId="{E7314609-1365-4DCD-8CF0-F580E23CD214}" dt="2024-08-01T21:45:52.820" v="3254" actId="1038"/>
          <ac:grpSpMkLst>
            <pc:docMk/>
            <pc:sldMk cId="544316277" sldId="2147483357"/>
            <ac:grpSpMk id="114" creationId="{3CBDA7E3-9E14-4FDE-822B-B5ED830902E0}"/>
          </ac:grpSpMkLst>
        </pc:grpChg>
        <pc:grpChg chg="mod">
          <ac:chgData name="Seun Osonuga" userId="6d4a9fd65a6bad53" providerId="LiveId" clId="{E7314609-1365-4DCD-8CF0-F580E23CD214}" dt="2024-08-01T21:45:52.820" v="3254" actId="1038"/>
          <ac:grpSpMkLst>
            <pc:docMk/>
            <pc:sldMk cId="544316277" sldId="2147483357"/>
            <ac:grpSpMk id="120" creationId="{37CF1A4C-AB65-4E44-AECB-08D1C25AA75D}"/>
          </ac:grpSpMkLst>
        </pc:grpChg>
        <pc:graphicFrameChg chg="mod">
          <ac:chgData name="Seun Osonuga" userId="6d4a9fd65a6bad53" providerId="LiveId" clId="{E7314609-1365-4DCD-8CF0-F580E23CD214}" dt="2024-08-01T21:34:05.774" v="3112" actId="12789"/>
          <ac:graphicFrameMkLst>
            <pc:docMk/>
            <pc:sldMk cId="544316277" sldId="2147483357"/>
            <ac:graphicFrameMk id="5" creationId="{0D365958-1319-4553-A41C-9EE73C8DB9AA}"/>
          </ac:graphicFrameMkLst>
        </pc:graphicFrameChg>
        <pc:graphicFrameChg chg="mod">
          <ac:chgData name="Seun Osonuga" userId="6d4a9fd65a6bad53" providerId="LiveId" clId="{E7314609-1365-4DCD-8CF0-F580E23CD214}" dt="2024-08-01T21:45:47.590" v="3248" actId="1037"/>
          <ac:graphicFrameMkLst>
            <pc:docMk/>
            <pc:sldMk cId="544316277" sldId="2147483357"/>
            <ac:graphicFrameMk id="82" creationId="{04923A61-1D39-41F3-A8F0-D03DA9F728D1}"/>
          </ac:graphicFrameMkLst>
        </pc:graphicFrameChg>
        <pc:graphicFrameChg chg="del">
          <ac:chgData name="Seun Osonuga" userId="6d4a9fd65a6bad53" providerId="LiveId" clId="{E7314609-1365-4DCD-8CF0-F580E23CD214}" dt="2024-08-01T21:33:04.872" v="3101" actId="478"/>
          <ac:graphicFrameMkLst>
            <pc:docMk/>
            <pc:sldMk cId="544316277" sldId="2147483357"/>
            <ac:graphicFrameMk id="83" creationId="{C3794453-990D-4BB6-87FA-978BDCEF7793}"/>
          </ac:graphicFrameMkLst>
        </pc:graphicFrameChg>
        <pc:graphicFrameChg chg="mod">
          <ac:chgData name="Seun Osonuga" userId="6d4a9fd65a6bad53" providerId="LiveId" clId="{E7314609-1365-4DCD-8CF0-F580E23CD214}" dt="2024-08-01T21:45:47.590" v="3248" actId="1037"/>
          <ac:graphicFrameMkLst>
            <pc:docMk/>
            <pc:sldMk cId="544316277" sldId="2147483357"/>
            <ac:graphicFrameMk id="89" creationId="{0E2077CD-6EAF-448B-A1EC-DFB76FC7707F}"/>
          </ac:graphicFrameMkLst>
        </pc:graphicFrameChg>
        <pc:graphicFrameChg chg="mod">
          <ac:chgData name="Seun Osonuga" userId="6d4a9fd65a6bad53" providerId="LiveId" clId="{E7314609-1365-4DCD-8CF0-F580E23CD214}" dt="2024-08-01T21:45:47.590" v="3248" actId="1037"/>
          <ac:graphicFrameMkLst>
            <pc:docMk/>
            <pc:sldMk cId="544316277" sldId="2147483357"/>
            <ac:graphicFrameMk id="90" creationId="{782E0207-A19C-4E80-97CB-B2DFCC729850}"/>
          </ac:graphicFrameMkLst>
        </pc:graphicFrameChg>
        <pc:graphicFrameChg chg="mod">
          <ac:chgData name="Seun Osonuga" userId="6d4a9fd65a6bad53" providerId="LiveId" clId="{E7314609-1365-4DCD-8CF0-F580E23CD214}" dt="2024-08-01T21:41:21.150" v="3219" actId="14100"/>
          <ac:graphicFrameMkLst>
            <pc:docMk/>
            <pc:sldMk cId="544316277" sldId="2147483357"/>
            <ac:graphicFrameMk id="92" creationId="{AD37689D-10D0-4E81-960F-6B0407AA942D}"/>
          </ac:graphicFrameMkLst>
        </pc:graphicFrameChg>
        <pc:graphicFrameChg chg="mod">
          <ac:chgData name="Seun Osonuga" userId="6d4a9fd65a6bad53" providerId="LiveId" clId="{E7314609-1365-4DCD-8CF0-F580E23CD214}" dt="2024-08-01T21:41:21.150" v="3219" actId="14100"/>
          <ac:graphicFrameMkLst>
            <pc:docMk/>
            <pc:sldMk cId="544316277" sldId="2147483357"/>
            <ac:graphicFrameMk id="93" creationId="{CB7D7731-E58B-4B18-87F3-9B276552B57F}"/>
          </ac:graphicFrameMkLst>
        </pc:graphicFrameChg>
        <pc:graphicFrameChg chg="mod">
          <ac:chgData name="Seun Osonuga" userId="6d4a9fd65a6bad53" providerId="LiveId" clId="{E7314609-1365-4DCD-8CF0-F580E23CD214}" dt="2024-08-01T21:41:21.150" v="3219" actId="14100"/>
          <ac:graphicFrameMkLst>
            <pc:docMk/>
            <pc:sldMk cId="544316277" sldId="2147483357"/>
            <ac:graphicFrameMk id="98" creationId="{8352E3B5-080C-46DE-B7F7-0E64A6BA5CFE}"/>
          </ac:graphicFrameMkLst>
        </pc:graphicFrameChg>
      </pc:sldChg>
      <pc:sldChg chg="addSp modSp add mod">
        <pc:chgData name="Seun Osonuga" userId="6d4a9fd65a6bad53" providerId="LiveId" clId="{E7314609-1365-4DCD-8CF0-F580E23CD214}" dt="2024-08-01T21:56:44.397" v="3346" actId="207"/>
        <pc:sldMkLst>
          <pc:docMk/>
          <pc:sldMk cId="2639389080" sldId="2147483358"/>
        </pc:sldMkLst>
        <pc:spChg chg="mod">
          <ac:chgData name="Seun Osonuga" userId="6d4a9fd65a6bad53" providerId="LiveId" clId="{E7314609-1365-4DCD-8CF0-F580E23CD214}" dt="2024-08-01T21:47:54.199" v="3284" actId="20577"/>
          <ac:spMkLst>
            <pc:docMk/>
            <pc:sldMk cId="2639389080" sldId="2147483358"/>
            <ac:spMk id="79" creationId="{A1676573-A720-4D61-8D96-36566EDD4721}"/>
          </ac:spMkLst>
        </pc:spChg>
        <pc:spChg chg="mod">
          <ac:chgData name="Seun Osonuga" userId="6d4a9fd65a6bad53" providerId="LiveId" clId="{E7314609-1365-4DCD-8CF0-F580E23CD214}" dt="2024-08-01T21:48:27.579" v="3321"/>
          <ac:spMkLst>
            <pc:docMk/>
            <pc:sldMk cId="2639389080" sldId="2147483358"/>
            <ac:spMk id="80" creationId="{549EDD33-D1C7-4B4F-89CC-EF19992C51AF}"/>
          </ac:spMkLst>
        </pc:spChg>
        <pc:spChg chg="add mod">
          <ac:chgData name="Seun Osonuga" userId="6d4a9fd65a6bad53" providerId="LiveId" clId="{E7314609-1365-4DCD-8CF0-F580E23CD214}" dt="2024-08-01T21:56:44.397" v="3346" actId="207"/>
          <ac:spMkLst>
            <pc:docMk/>
            <pc:sldMk cId="2639389080" sldId="2147483358"/>
            <ac:spMk id="83" creationId="{C7B9DE20-D7A6-4C2F-A94B-86848BE0C94A}"/>
          </ac:spMkLst>
        </pc:spChg>
        <pc:spChg chg="mod">
          <ac:chgData name="Seun Osonuga" userId="6d4a9fd65a6bad53" providerId="LiveId" clId="{E7314609-1365-4DCD-8CF0-F580E23CD214}" dt="2024-08-01T21:48:14.809" v="3320" actId="20577"/>
          <ac:spMkLst>
            <pc:docMk/>
            <pc:sldMk cId="2639389080" sldId="2147483358"/>
            <ac:spMk id="88" creationId="{F5E03D2B-16D1-4AB0-89C7-82EA43BF1FEA}"/>
          </ac:spMkLst>
        </pc:spChg>
      </pc:sldChg>
      <pc:sldChg chg="addSp modSp add mod ord">
        <pc:chgData name="Seun Osonuga" userId="6d4a9fd65a6bad53" providerId="LiveId" clId="{E7314609-1365-4DCD-8CF0-F580E23CD214}" dt="2024-08-01T21:56:49.968" v="3347"/>
        <pc:sldMkLst>
          <pc:docMk/>
          <pc:sldMk cId="3498864111" sldId="2147483359"/>
        </pc:sldMkLst>
        <pc:spChg chg="mod">
          <ac:chgData name="Seun Osonuga" userId="6d4a9fd65a6bad53" providerId="LiveId" clId="{E7314609-1365-4DCD-8CF0-F580E23CD214}" dt="2024-08-01T21:51:31.763" v="3342" actId="14100"/>
          <ac:spMkLst>
            <pc:docMk/>
            <pc:sldMk cId="3498864111" sldId="2147483359"/>
            <ac:spMk id="79" creationId="{A1676573-A720-4D61-8D96-36566EDD4721}"/>
          </ac:spMkLst>
        </pc:spChg>
        <pc:spChg chg="add mod">
          <ac:chgData name="Seun Osonuga" userId="6d4a9fd65a6bad53" providerId="LiveId" clId="{E7314609-1365-4DCD-8CF0-F580E23CD214}" dt="2024-08-01T21:56:49.968" v="3347"/>
          <ac:spMkLst>
            <pc:docMk/>
            <pc:sldMk cId="3498864111" sldId="2147483359"/>
            <ac:spMk id="91" creationId="{3A7950D9-9385-4BC6-AB49-C961D8DDD91B}"/>
          </ac:spMkLst>
        </pc:spChg>
      </pc:sldChg>
      <pc:sldMasterChg chg="delSldLayout">
        <pc:chgData name="Seun Osonuga" userId="6d4a9fd65a6bad53" providerId="LiveId" clId="{E7314609-1365-4DCD-8CF0-F580E23CD214}" dt="2024-08-01T22:05:30.206" v="3430" actId="47"/>
        <pc:sldMasterMkLst>
          <pc:docMk/>
          <pc:sldMasterMk cId="1194077168" sldId="2147483648"/>
        </pc:sldMasterMkLst>
        <pc:sldLayoutChg chg="del">
          <pc:chgData name="Seun Osonuga" userId="6d4a9fd65a6bad53" providerId="LiveId" clId="{E7314609-1365-4DCD-8CF0-F580E23CD214}" dt="2024-08-01T22:05:30.206" v="3430" actId="47"/>
          <pc:sldLayoutMkLst>
            <pc:docMk/>
            <pc:sldMasterMk cId="1194077168" sldId="2147483648"/>
            <pc:sldLayoutMk cId="3074927635" sldId="2147484414"/>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3.xml"/><Relationship Id="rId1" Type="http://schemas.microsoft.com/office/2011/relationships/chartStyle" Target="style23.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4.xml"/><Relationship Id="rId1" Type="http://schemas.microsoft.com/office/2011/relationships/chartStyle" Target="style2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1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1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8.xml"/><Relationship Id="rId1" Type="http://schemas.microsoft.com/office/2011/relationships/chartStyle" Target="style2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9.xml"/><Relationship Id="rId1" Type="http://schemas.microsoft.com/office/2011/relationships/chartStyle" Target="style2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0.xml"/><Relationship Id="rId1" Type="http://schemas.microsoft.com/office/2011/relationships/chartStyle" Target="style30.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1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2.xml"/><Relationship Id="rId1" Type="http://schemas.microsoft.com/office/2011/relationships/chartStyle" Target="style3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3.xml"/><Relationship Id="rId1" Type="http://schemas.microsoft.com/office/2011/relationships/chartStyle" Target="style3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4.xml"/><Relationship Id="rId1" Type="http://schemas.microsoft.com/office/2011/relationships/chartStyle" Target="style3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5.xml"/><Relationship Id="rId1" Type="http://schemas.microsoft.com/office/2011/relationships/chartStyle" Target="style3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chartUserShapes" Target="../drawings/drawing1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7.xml"/><Relationship Id="rId1" Type="http://schemas.microsoft.com/office/2011/relationships/chartStyle" Target="style37.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8.xml"/><Relationship Id="rId1" Type="http://schemas.microsoft.com/office/2011/relationships/chartStyle" Target="style38.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9.xml"/><Relationship Id="rId1" Type="http://schemas.microsoft.com/office/2011/relationships/chartStyle" Target="style39.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0.xml"/><Relationship Id="rId1" Type="http://schemas.microsoft.com/office/2011/relationships/chartStyle" Target="style40.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1.xml"/><Relationship Id="rId1" Type="http://schemas.microsoft.com/office/2011/relationships/chartStyle" Target="style41.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2.xml"/><Relationship Id="rId1" Type="http://schemas.microsoft.com/office/2011/relationships/chartStyle" Target="style42.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3.xml"/><Relationship Id="rId1" Type="http://schemas.microsoft.com/office/2011/relationships/chartStyle" Target="style4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4.xml"/><Relationship Id="rId1" Type="http://schemas.microsoft.com/office/2011/relationships/chartStyle" Target="style44.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5.xml"/><Relationship Id="rId1" Type="http://schemas.microsoft.com/office/2011/relationships/chartStyle" Target="style45.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6.xml"/><Relationship Id="rId1" Type="http://schemas.microsoft.com/office/2011/relationships/chartStyle" Target="style46.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chartUserShapes" Target="../drawings/drawing1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8.xml"/><Relationship Id="rId1" Type="http://schemas.microsoft.com/office/2011/relationships/chartStyle" Target="style4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49.xml"/><Relationship Id="rId1" Type="http://schemas.microsoft.com/office/2011/relationships/chartStyle" Target="style4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0.xml"/><Relationship Id="rId1" Type="http://schemas.microsoft.com/office/2011/relationships/chartStyle" Target="style5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1.xml"/><Relationship Id="rId1" Type="http://schemas.microsoft.com/office/2011/relationships/chartStyle" Target="style51.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2.xml"/><Relationship Id="rId1" Type="http://schemas.microsoft.com/office/2011/relationships/chartStyle" Target="style5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3.xml"/><Relationship Id="rId1" Type="http://schemas.microsoft.com/office/2011/relationships/chartStyle" Target="style53.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4.xml"/><Relationship Id="rId1" Type="http://schemas.microsoft.com/office/2011/relationships/chartStyle" Target="style5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chartUserShapes" Target="../drawings/drawing18.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6.xml"/><Relationship Id="rId1" Type="http://schemas.microsoft.com/office/2011/relationships/chartStyle" Target="style56.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7.xml"/><Relationship Id="rId1" Type="http://schemas.microsoft.com/office/2011/relationships/chartStyle" Target="style57.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58.xml"/><Relationship Id="rId1" Type="http://schemas.microsoft.com/office/2011/relationships/chartStyle" Target="style58.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59.xml"/><Relationship Id="rId1" Type="http://schemas.microsoft.com/office/2011/relationships/chartStyle" Target="style59.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0.xml"/><Relationship Id="rId1" Type="http://schemas.microsoft.com/office/2011/relationships/chartStyle" Target="style60.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1.xml"/><Relationship Id="rId1" Type="http://schemas.microsoft.com/office/2011/relationships/chartStyle" Target="style61.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1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3.xml"/><Relationship Id="rId1" Type="http://schemas.microsoft.com/office/2011/relationships/chartStyle" Target="style63.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4.xml"/><Relationship Id="rId1" Type="http://schemas.microsoft.com/office/2011/relationships/chartStyle" Target="style64.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5.xml"/><Relationship Id="rId1" Type="http://schemas.microsoft.com/office/2011/relationships/chartStyle" Target="style65.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6.xml"/><Relationship Id="rId1" Type="http://schemas.microsoft.com/office/2011/relationships/chartStyle" Target="style66.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7.xml"/><Relationship Id="rId1" Type="http://schemas.microsoft.com/office/2011/relationships/chartStyle" Target="style67.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68.xml"/><Relationship Id="rId1" Type="http://schemas.microsoft.com/office/2011/relationships/chartStyle" Target="style68.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69.xml"/><Relationship Id="rId1" Type="http://schemas.microsoft.com/office/2011/relationships/chartStyle" Target="style69.xml"/><Relationship Id="rId4" Type="http://schemas.openxmlformats.org/officeDocument/2006/relationships/chartUserShapes" Target="../drawings/drawing2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0.xml"/><Relationship Id="rId1" Type="http://schemas.microsoft.com/office/2011/relationships/chartStyle" Target="style70.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6.xlsx"/></Relationships>
</file>

<file path=ppt/charts/_rels/chartEx1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24.xlsx"/></Relationships>
</file>

<file path=ppt/charts/_rels/chartEx11.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6.xlsx"/></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8.xlsx"/></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0.xlsx"/></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12.xlsx"/></Relationships>
</file>

<file path=ppt/charts/_rels/chartEx5.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14.xlsx"/></Relationships>
</file>

<file path=ppt/charts/_rels/chartEx6.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6.xlsx"/></Relationships>
</file>

<file path=ppt/charts/_rels/chartEx7.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8.xlsx"/></Relationships>
</file>

<file path=ppt/charts/_rels/chartEx8.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20.xlsx"/></Relationships>
</file>

<file path=ppt/charts/_rels/chartEx9.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2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Pt>
            <c:idx val="1"/>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1-BC8E-461E-92EB-8F04B72AF730}"/>
              </c:ext>
            </c:extLst>
          </c:dPt>
          <c:dPt>
            <c:idx val="3"/>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3-BC8E-461E-92EB-8F04B72AF730}"/>
              </c:ext>
            </c:extLst>
          </c:dPt>
          <c:dPt>
            <c:idx val="4"/>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1-A662-4547-91F7-5D349D80F8A8}"/>
              </c:ext>
            </c:extLst>
          </c:dPt>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chemeClr val="accent2">
                    <a:lumMod val="20000"/>
                    <a:lumOff val="80000"/>
                  </a:schemeClr>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92.857142857142861</c:v>
                </c:pt>
                <c:pt idx="2">
                  <c:v>100</c:v>
                </c:pt>
                <c:pt idx="3">
                  <c:v>97.61904761904762</c:v>
                </c:pt>
                <c:pt idx="4">
                  <c:v>98.80952380952381</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60.37</c:v>
                </c:pt>
                <c:pt idx="1">
                  <c:v>39.63000000000000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70.070931947754687</c:v>
                </c:pt>
                <c:pt idx="1">
                  <c:v>29.92906805224531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56.624649859943972</c:v>
                </c:pt>
                <c:pt idx="1">
                  <c:v>43.375350140056028</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79.3055555555555</c:v>
                </c:pt>
                <c:pt idx="1">
                  <c:v>20.6944444444445</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87.78</c:v>
                </c:pt>
                <c:pt idx="1">
                  <c:v>12.219999999999999</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63.51</c:v>
                </c:pt>
                <c:pt idx="1">
                  <c:v>36.49</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29.71</c:v>
                </c:pt>
                <c:pt idx="1">
                  <c:v>70.289999999999992</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formatCode="_(* #,##0.00_);_(* \(#,##0.00\);_(* &quot;-&quot;??_);_(@_)">
                  <c:v>51.38</c:v>
                </c:pt>
                <c:pt idx="1">
                  <c:v>48.62</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imary</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uality Score</c:v>
                </c:pt>
                <c:pt idx="1">
                  <c:v>Integrated Supp. Supervision</c:v>
                </c:pt>
                <c:pt idx="2">
                  <c:v>Integrated HTM w/ ANC</c:v>
                </c:pt>
                <c:pt idx="3">
                  <c:v>System readiness
for CHWs</c:v>
                </c:pt>
                <c:pt idx="4">
                  <c:v>Facility Composite</c:v>
                </c:pt>
                <c:pt idx="5">
                  <c:v>CHW renumeration</c:v>
                </c:pt>
              </c:strCache>
            </c:strRef>
          </c:cat>
          <c:val>
            <c:numRef>
              <c:f>Sheet1!$B$2:$B$7</c:f>
              <c:numCache>
                <c:formatCode>0.00</c:formatCode>
                <c:ptCount val="6"/>
                <c:pt idx="0">
                  <c:v>56.494286625295452</c:v>
                </c:pt>
                <c:pt idx="1">
                  <c:v>80.952380952380949</c:v>
                </c:pt>
                <c:pt idx="2">
                  <c:v>63.360655737704853</c:v>
                </c:pt>
                <c:pt idx="3" formatCode="0">
                  <c:v>59.724462365591393</c:v>
                </c:pt>
                <c:pt idx="4" formatCode="0">
                  <c:v>69.613854413613765</c:v>
                </c:pt>
                <c:pt idx="5" formatCode="0">
                  <c:v>56.827956989247305</c:v>
                </c:pt>
              </c:numCache>
            </c:numRef>
          </c:val>
          <c:extLst>
            <c:ext xmlns:c16="http://schemas.microsoft.com/office/drawing/2014/chart" uri="{C3380CC4-5D6E-409C-BE32-E72D297353CC}">
              <c16:uniqueId val="{00000000-A89F-4D18-A81A-9F4FE352EA36}"/>
            </c:ext>
          </c:extLst>
        </c:ser>
        <c:ser>
          <c:idx val="1"/>
          <c:order val="1"/>
          <c:tx>
            <c:strRef>
              <c:f>Sheet1!$C$1</c:f>
              <c:strCache>
                <c:ptCount val="1"/>
                <c:pt idx="0">
                  <c:v>Secondary</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uality Score</c:v>
                </c:pt>
                <c:pt idx="1">
                  <c:v>Integrated Supp. Supervision</c:v>
                </c:pt>
                <c:pt idx="2">
                  <c:v>Integrated HTM w/ ANC</c:v>
                </c:pt>
                <c:pt idx="3">
                  <c:v>System readiness
for CHWs</c:v>
                </c:pt>
                <c:pt idx="4">
                  <c:v>Facility Composite</c:v>
                </c:pt>
                <c:pt idx="5">
                  <c:v>CHW renumeration</c:v>
                </c:pt>
              </c:strCache>
            </c:strRef>
          </c:cat>
          <c:val>
            <c:numRef>
              <c:f>Sheet1!$C$2:$C$7</c:f>
              <c:numCache>
                <c:formatCode>0.00</c:formatCode>
                <c:ptCount val="6"/>
                <c:pt idx="0">
                  <c:v>60.369901736323911</c:v>
                </c:pt>
                <c:pt idx="1">
                  <c:v>95.91194968553458</c:v>
                </c:pt>
                <c:pt idx="2">
                  <c:v>62.421383647798656</c:v>
                </c:pt>
                <c:pt idx="3" formatCode="0">
                  <c:v>61.155660377358494</c:v>
                </c:pt>
                <c:pt idx="4" formatCode="0">
                  <c:v>70.580677840063558</c:v>
                </c:pt>
                <c:pt idx="5" formatCode="0">
                  <c:v>58.018867924528301</c:v>
                </c:pt>
              </c:numCache>
            </c:numRef>
          </c:val>
          <c:extLst>
            <c:ext xmlns:c16="http://schemas.microsoft.com/office/drawing/2014/chart" uri="{C3380CC4-5D6E-409C-BE32-E72D297353CC}">
              <c16:uniqueId val="{00000001-A89F-4D18-A81A-9F4FE352EA36}"/>
            </c:ext>
          </c:extLst>
        </c:ser>
        <c:ser>
          <c:idx val="2"/>
          <c:order val="2"/>
          <c:tx>
            <c:strRef>
              <c:f>Sheet1!$D$1</c:f>
              <c:strCache>
                <c:ptCount val="1"/>
                <c:pt idx="0">
                  <c:v>Tertiary</c:v>
                </c:pt>
              </c:strCache>
            </c:strRef>
          </c:tx>
          <c:spPr>
            <a:solidFill>
              <a:schemeClr val="accent6">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uality Score</c:v>
                </c:pt>
                <c:pt idx="1">
                  <c:v>Integrated Supp. Supervision</c:v>
                </c:pt>
                <c:pt idx="2">
                  <c:v>Integrated HTM w/ ANC</c:v>
                </c:pt>
                <c:pt idx="3">
                  <c:v>System readiness
for CHWs</c:v>
                </c:pt>
                <c:pt idx="4">
                  <c:v>Facility Composite</c:v>
                </c:pt>
                <c:pt idx="5">
                  <c:v>CHW renumeration</c:v>
                </c:pt>
              </c:strCache>
            </c:strRef>
          </c:cat>
          <c:val>
            <c:numRef>
              <c:f>Sheet1!$D$2:$D$7</c:f>
              <c:numCache>
                <c:formatCode>0.00</c:formatCode>
                <c:ptCount val="6"/>
                <c:pt idx="0">
                  <c:v>64.633883477633447</c:v>
                </c:pt>
                <c:pt idx="1">
                  <c:v>77.083333333333329</c:v>
                </c:pt>
                <c:pt idx="2">
                  <c:v>59.16666666666665</c:v>
                </c:pt>
                <c:pt idx="3" formatCode="0">
                  <c:v>60</c:v>
                </c:pt>
                <c:pt idx="4" formatCode="0">
                  <c:v>70.515770037381643</c:v>
                </c:pt>
                <c:pt idx="5" formatCode="0">
                  <c:v>35</c:v>
                </c:pt>
              </c:numCache>
            </c:numRef>
          </c:val>
          <c:extLst>
            <c:ext xmlns:c16="http://schemas.microsoft.com/office/drawing/2014/chart" uri="{C3380CC4-5D6E-409C-BE32-E72D297353CC}">
              <c16:uniqueId val="{00000002-A89F-4D18-A81A-9F4FE352EA36}"/>
            </c:ext>
          </c:extLst>
        </c:ser>
        <c:dLbls>
          <c:dLblPos val="outEnd"/>
          <c:showLegendKey val="0"/>
          <c:showVal val="1"/>
          <c:showCatName val="0"/>
          <c:showSerName val="0"/>
          <c:showPercent val="0"/>
          <c:showBubbleSize val="0"/>
        </c:dLbls>
        <c:gapWidth val="38"/>
        <c:overlap val="-7"/>
        <c:axId val="201044079"/>
        <c:axId val="201032847"/>
      </c:barChart>
      <c:catAx>
        <c:axId val="201044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032847"/>
        <c:crosses val="autoZero"/>
        <c:auto val="1"/>
        <c:lblAlgn val="ctr"/>
        <c:lblOffset val="100"/>
        <c:noMultiLvlLbl val="0"/>
      </c:catAx>
      <c:valAx>
        <c:axId val="20103284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044079"/>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imary</c:v>
                </c:pt>
              </c:strCache>
            </c:strRef>
          </c:tx>
          <c:spPr>
            <a:solidFill>
              <a:schemeClr val="accent6">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m. Led Monitoring</c:v>
                </c:pt>
                <c:pt idx="1">
                  <c:v>Avail. of guidelines</c:v>
                </c:pt>
                <c:pt idx="2">
                  <c:v>Avail. of oxygen</c:v>
                </c:pt>
                <c:pt idx="3">
                  <c:v>Approp. Testing</c:v>
                </c:pt>
                <c:pt idx="4">
                  <c:v>Vacancy score</c:v>
                </c:pt>
              </c:strCache>
            </c:strRef>
          </c:cat>
          <c:val>
            <c:numRef>
              <c:f>Sheet1!$B$2:$B$6</c:f>
              <c:numCache>
                <c:formatCode>0</c:formatCode>
                <c:ptCount val="5"/>
                <c:pt idx="0">
                  <c:v>76.984126984126974</c:v>
                </c:pt>
                <c:pt idx="1">
                  <c:v>82.615268329554013</c:v>
                </c:pt>
                <c:pt idx="2">
                  <c:v>50</c:v>
                </c:pt>
                <c:pt idx="3">
                  <c:v>42.731169380344738</c:v>
                </c:pt>
                <c:pt idx="4">
                  <c:v>28.863145037176636</c:v>
                </c:pt>
              </c:numCache>
            </c:numRef>
          </c:val>
          <c:extLst>
            <c:ext xmlns:c16="http://schemas.microsoft.com/office/drawing/2014/chart" uri="{C3380CC4-5D6E-409C-BE32-E72D297353CC}">
              <c16:uniqueId val="{00000000-A89F-4D18-A81A-9F4FE352EA36}"/>
            </c:ext>
          </c:extLst>
        </c:ser>
        <c:ser>
          <c:idx val="1"/>
          <c:order val="1"/>
          <c:tx>
            <c:strRef>
              <c:f>Sheet1!$C$1</c:f>
              <c:strCache>
                <c:ptCount val="1"/>
                <c:pt idx="0">
                  <c:v>Secondary</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m. Led Monitoring</c:v>
                </c:pt>
                <c:pt idx="1">
                  <c:v>Avail. of guidelines</c:v>
                </c:pt>
                <c:pt idx="2">
                  <c:v>Avail. of oxygen</c:v>
                </c:pt>
                <c:pt idx="3">
                  <c:v>Approp. Testing</c:v>
                </c:pt>
                <c:pt idx="4">
                  <c:v>Vacancy score</c:v>
                </c:pt>
              </c:strCache>
            </c:strRef>
          </c:cat>
          <c:val>
            <c:numRef>
              <c:f>Sheet1!$C$2:$C$6</c:f>
              <c:numCache>
                <c:formatCode>0</c:formatCode>
                <c:ptCount val="5"/>
                <c:pt idx="0">
                  <c:v>85.220125786163493</c:v>
                </c:pt>
                <c:pt idx="1">
                  <c:v>94.070080862533686</c:v>
                </c:pt>
                <c:pt idx="2">
                  <c:v>70</c:v>
                </c:pt>
                <c:pt idx="3">
                  <c:v>58.925368831029154</c:v>
                </c:pt>
                <c:pt idx="4">
                  <c:v>31.108504626452241</c:v>
                </c:pt>
              </c:numCache>
            </c:numRef>
          </c:val>
          <c:extLst>
            <c:ext xmlns:c16="http://schemas.microsoft.com/office/drawing/2014/chart" uri="{C3380CC4-5D6E-409C-BE32-E72D297353CC}">
              <c16:uniqueId val="{00000001-A89F-4D18-A81A-9F4FE352EA36}"/>
            </c:ext>
          </c:extLst>
        </c:ser>
        <c:ser>
          <c:idx val="2"/>
          <c:order val="2"/>
          <c:tx>
            <c:strRef>
              <c:f>Sheet1!$D$1</c:f>
              <c:strCache>
                <c:ptCount val="1"/>
                <c:pt idx="0">
                  <c:v>Tertiary</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m. Led Monitoring</c:v>
                </c:pt>
                <c:pt idx="1">
                  <c:v>Avail. of guidelines</c:v>
                </c:pt>
                <c:pt idx="2">
                  <c:v>Avail. of oxygen</c:v>
                </c:pt>
                <c:pt idx="3">
                  <c:v>Approp. Testing</c:v>
                </c:pt>
                <c:pt idx="4">
                  <c:v>Vacancy score</c:v>
                </c:pt>
              </c:strCache>
            </c:strRef>
          </c:cat>
          <c:val>
            <c:numRef>
              <c:f>Sheet1!$D$2:$D$6</c:f>
              <c:numCache>
                <c:formatCode>0</c:formatCode>
                <c:ptCount val="5"/>
                <c:pt idx="0">
                  <c:v>37.49999999999995</c:v>
                </c:pt>
                <c:pt idx="1">
                  <c:v>85.714285714285694</c:v>
                </c:pt>
                <c:pt idx="2">
                  <c:v>83.333333333333329</c:v>
                </c:pt>
                <c:pt idx="3">
                  <c:v>76.851851851851777</c:v>
                </c:pt>
              </c:numCache>
            </c:numRef>
          </c:val>
          <c:extLst>
            <c:ext xmlns:c16="http://schemas.microsoft.com/office/drawing/2014/chart" uri="{C3380CC4-5D6E-409C-BE32-E72D297353CC}">
              <c16:uniqueId val="{00000002-A89F-4D18-A81A-9F4FE352EA36}"/>
            </c:ext>
          </c:extLst>
        </c:ser>
        <c:dLbls>
          <c:dLblPos val="outEnd"/>
          <c:showLegendKey val="0"/>
          <c:showVal val="1"/>
          <c:showCatName val="0"/>
          <c:showSerName val="0"/>
          <c:showPercent val="0"/>
          <c:showBubbleSize val="0"/>
        </c:dLbls>
        <c:gapWidth val="38"/>
        <c:overlap val="-7"/>
        <c:axId val="201044079"/>
        <c:axId val="201032847"/>
      </c:barChart>
      <c:catAx>
        <c:axId val="201044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032847"/>
        <c:crosses val="autoZero"/>
        <c:auto val="1"/>
        <c:lblAlgn val="ctr"/>
        <c:lblOffset val="100"/>
        <c:noMultiLvlLbl val="0"/>
      </c:catAx>
      <c:valAx>
        <c:axId val="20103284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044079"/>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100</c:v>
                </c:pt>
                <c:pt idx="2">
                  <c:v>100</c:v>
                </c:pt>
                <c:pt idx="3">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58.48</c:v>
                </c:pt>
                <c:pt idx="1">
                  <c:v>41.52</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67.400000000000006</c:v>
                </c:pt>
                <c:pt idx="1">
                  <c:v>32.599999999999994</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49.8</c:v>
                </c:pt>
                <c:pt idx="1">
                  <c:v>50.2</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Quality Score</c:v>
                </c:pt>
                <c:pt idx="1">
                  <c:v>Patient
Centeredness</c:v>
                </c:pt>
                <c:pt idx="2">
                  <c:v>Health worker
competence</c:v>
                </c:pt>
              </c:strCache>
            </c:strRef>
          </c:cat>
          <c:val>
            <c:numRef>
              <c:f>Sheet1!$B$2:$B$4</c:f>
              <c:numCache>
                <c:formatCode>0</c:formatCode>
                <c:ptCount val="3"/>
                <c:pt idx="0">
                  <c:v>64.63</c:v>
                </c:pt>
                <c:pt idx="1">
                  <c:v>65.14</c:v>
                </c:pt>
                <c:pt idx="2">
                  <c:v>64.1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Quality Score</c:v>
                </c:pt>
                <c:pt idx="1">
                  <c:v>Patient
Centeredness</c:v>
                </c:pt>
                <c:pt idx="2">
                  <c:v>Health worker
competence</c:v>
                </c:pt>
              </c:strCache>
            </c:strRef>
          </c:cat>
          <c:val>
            <c:numRef>
              <c:f>Sheet1!$C$2:$C$4</c:f>
              <c:numCache>
                <c:formatCode>0</c:formatCode>
                <c:ptCount val="3"/>
                <c:pt idx="0">
                  <c:v>35.370000000000005</c:v>
                </c:pt>
                <c:pt idx="1">
                  <c:v>34.86</c:v>
                </c:pt>
                <c:pt idx="2">
                  <c:v>35.87000000000000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60.37</c:v>
                </c:pt>
                <c:pt idx="1">
                  <c:v>67.83</c:v>
                </c:pt>
                <c:pt idx="2">
                  <c:v>52.91</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Category 1</c:v>
                </c:pt>
                <c:pt idx="1">
                  <c:v>Category 2</c:v>
                </c:pt>
                <c:pt idx="2">
                  <c:v>Category 3</c:v>
                </c:pt>
              </c:strCache>
            </c:strRef>
          </c:cat>
          <c:val>
            <c:numRef>
              <c:f>Sheet1!$C$2:$C$4</c:f>
              <c:numCache>
                <c:formatCode>0</c:formatCode>
                <c:ptCount val="3"/>
                <c:pt idx="0">
                  <c:v>39.630000000000003</c:v>
                </c:pt>
                <c:pt idx="1">
                  <c:v>32.17</c:v>
                </c:pt>
                <c:pt idx="2">
                  <c:v>47.0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c:formatCode>
                <c:ptCount val="3"/>
                <c:pt idx="0">
                  <c:v>56.494286625295452</c:v>
                </c:pt>
                <c:pt idx="1">
                  <c:v>67.184344616277585</c:v>
                </c:pt>
                <c:pt idx="2">
                  <c:v>46.278054210233108</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Category 1</c:v>
                </c:pt>
                <c:pt idx="1">
                  <c:v>Category 2</c:v>
                </c:pt>
                <c:pt idx="2">
                  <c:v>Category 3</c:v>
                </c:pt>
              </c:strCache>
            </c:strRef>
          </c:cat>
          <c:val>
            <c:numRef>
              <c:f>Sheet1!$C$2:$C$4</c:f>
              <c:numCache>
                <c:formatCode>0</c:formatCode>
                <c:ptCount val="3"/>
                <c:pt idx="0">
                  <c:v>43.505713374704548</c:v>
                </c:pt>
                <c:pt idx="1">
                  <c:v>32.815655383722415</c:v>
                </c:pt>
                <c:pt idx="2">
                  <c:v>53.721945789766892</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58.48</c:v>
                </c:pt>
                <c:pt idx="1">
                  <c:v>41.52</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E37-41AA-B5EA-9A37749C8C2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B$2:$B$6</c:f>
              <c:numCache>
                <c:formatCode>0</c:formatCode>
                <c:ptCount val="5"/>
                <c:pt idx="0">
                  <c:v>64.63</c:v>
                </c:pt>
                <c:pt idx="1">
                  <c:v>65.14</c:v>
                </c:pt>
                <c:pt idx="2">
                  <c:v>64.1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C$2:$C$6</c:f>
              <c:numCache>
                <c:formatCode>0</c:formatCode>
                <c:ptCount val="5"/>
                <c:pt idx="0">
                  <c:v>35.370000000000005</c:v>
                </c:pt>
                <c:pt idx="1">
                  <c:v>34.86</c:v>
                </c:pt>
                <c:pt idx="2">
                  <c:v>35.870000000000005</c:v>
                </c:pt>
                <c:pt idx="4" formatCode="General">
                  <c:v>100</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B$2:$B$6</c:f>
              <c:numCache>
                <c:formatCode>0</c:formatCode>
                <c:ptCount val="5"/>
                <c:pt idx="0">
                  <c:v>65</c:v>
                </c:pt>
                <c:pt idx="1">
                  <c:v>65</c:v>
                </c:pt>
                <c:pt idx="2">
                  <c:v>64</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C$2:$C$6</c:f>
              <c:numCache>
                <c:formatCode>0</c:formatCode>
                <c:ptCount val="5"/>
                <c:pt idx="0">
                  <c:v>35</c:v>
                </c:pt>
                <c:pt idx="1">
                  <c:v>35</c:v>
                </c:pt>
                <c:pt idx="2">
                  <c:v>36</c:v>
                </c:pt>
                <c:pt idx="4" formatCode="General">
                  <c:v>100</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1</c:f>
              <c:strCache>
                <c:ptCount val="1"/>
                <c:pt idx="0">
                  <c:v> </c:v>
                </c:pt>
              </c:strCache>
            </c:strRef>
          </c:tx>
          <c:spPr>
            <a:solidFill>
              <a:schemeClr val="accent1"/>
            </a:solidFill>
            <a:ln>
              <a:noFill/>
            </a:ln>
            <a:effectLst/>
          </c:spPr>
          <c:invertIfNegative val="0"/>
          <c:dLbls>
            <c:delete val="1"/>
          </c:dLbls>
          <c:val>
            <c:numRef>
              <c:f>Sheet1!$A$2:$A$6</c:f>
              <c:numCache>
                <c:formatCode>General</c:formatCode>
                <c:ptCount val="5"/>
                <c:pt idx="0">
                  <c:v>0</c:v>
                </c:pt>
                <c:pt idx="1">
                  <c:v>0</c:v>
                </c:pt>
                <c:pt idx="2">
                  <c:v>0</c:v>
                </c:pt>
              </c:numCache>
            </c:numRef>
          </c:val>
          <c:extLst>
            <c:ext xmlns:c16="http://schemas.microsoft.com/office/drawing/2014/chart" uri="{C3380CC4-5D6E-409C-BE32-E72D297353CC}">
              <c16:uniqueId val="{00000000-3A27-422E-BC8C-71696D431EAE}"/>
            </c:ext>
          </c:extLst>
        </c:ser>
        <c:ser>
          <c:idx val="1"/>
          <c:order val="1"/>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6</c:f>
              <c:numCache>
                <c:formatCode>0</c:formatCode>
                <c:ptCount val="5"/>
                <c:pt idx="0">
                  <c:v>56.494286625295452</c:v>
                </c:pt>
                <c:pt idx="1">
                  <c:v>67.184344616277585</c:v>
                </c:pt>
                <c:pt idx="2">
                  <c:v>46.278054210233108</c:v>
                </c:pt>
              </c:numCache>
            </c:numRef>
          </c:val>
          <c:extLst>
            <c:ext xmlns:c16="http://schemas.microsoft.com/office/drawing/2014/chart" uri="{C3380CC4-5D6E-409C-BE32-E72D297353CC}">
              <c16:uniqueId val="{00000001-3A27-422E-BC8C-71696D431EAE}"/>
            </c:ext>
          </c:extLst>
        </c:ser>
        <c:ser>
          <c:idx val="2"/>
          <c:order val="2"/>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6</c:f>
              <c:numCache>
                <c:formatCode>0</c:formatCode>
                <c:ptCount val="5"/>
                <c:pt idx="0">
                  <c:v>43.505713374704548</c:v>
                </c:pt>
                <c:pt idx="1">
                  <c:v>32.815655383722415</c:v>
                </c:pt>
                <c:pt idx="2">
                  <c:v>53.721945789766892</c:v>
                </c:pt>
              </c:numCache>
            </c:numRef>
          </c:val>
          <c:extLst>
            <c:ext xmlns:c16="http://schemas.microsoft.com/office/drawing/2014/chart" uri="{C3380CC4-5D6E-409C-BE32-E72D297353CC}">
              <c16:uniqueId val="{00000000-D88C-4B44-B231-FDE2628120CF}"/>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Pt>
            <c:idx val="1"/>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1-BC8E-461E-92EB-8F04B72AF730}"/>
              </c:ext>
            </c:extLst>
          </c:dPt>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chemeClr val="accent2">
                    <a:lumMod val="20000"/>
                    <a:lumOff val="80000"/>
                  </a:schemeClr>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86.956521739130437</c:v>
                </c:pt>
                <c:pt idx="2">
                  <c:v>100</c:v>
                </c:pt>
                <c:pt idx="3">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38472091559017"/>
          <c:y val="0"/>
          <c:w val="0.55761527908440978"/>
          <c:h val="0.99586866546477826"/>
        </c:manualLayout>
      </c:layout>
      <c:barChart>
        <c:barDir val="bar"/>
        <c:grouping val="percentStacked"/>
        <c:varyColors val="0"/>
        <c:ser>
          <c:idx val="0"/>
          <c:order val="0"/>
          <c:tx>
            <c:strRef>
              <c:f>Sheet1!$B$1</c:f>
              <c:strCache>
                <c:ptCount val="1"/>
                <c:pt idx="0">
                  <c:v>Score</c:v>
                </c:pt>
              </c:strCache>
            </c:strRef>
          </c:tx>
          <c:spPr>
            <a:solidFill>
              <a:srgbClr val="2E4DF9"/>
            </a:solidFill>
            <a:ln>
              <a:noFill/>
            </a:ln>
            <a:effectLst/>
          </c:spPr>
          <c:invertIfNegative val="0"/>
          <c:dLbls>
            <c:dLbl>
              <c:idx val="1"/>
              <c:tx>
                <c:rich>
                  <a:bodyPr/>
                  <a:lstStyle/>
                  <a:p>
                    <a:fld id="{7D5BAE6E-5020-4E17-8631-F4F1B1F2ECF8}" type="VALUE">
                      <a:rPr lang="en-US">
                        <a:solidFill>
                          <a:schemeClr val="bg1">
                            <a:lumMod val="65000"/>
                          </a:schemeClr>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307-43B7-A369-E3FA4A7DD867}"/>
                </c:ext>
              </c:extLst>
            </c:dLbl>
            <c:numFmt formatCode="#,##0" sourceLinked="0"/>
            <c:spPr>
              <a:solidFill>
                <a:srgbClr val="2E4DF9"/>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vers technical content</c:v>
                </c:pt>
                <c:pt idx="1">
                  <c:v>Summary statistics</c:v>
                </c:pt>
                <c:pt idx="2">
                  <c:v>Group problem solving</c:v>
                </c:pt>
                <c:pt idx="3">
                  <c:v>Community data discussion</c:v>
                </c:pt>
              </c:strCache>
            </c:strRef>
          </c:cat>
          <c:val>
            <c:numRef>
              <c:f>Sheet1!$B$2:$B$5</c:f>
              <c:numCache>
                <c:formatCode>General</c:formatCode>
                <c:ptCount val="4"/>
                <c:pt idx="0">
                  <c:v>70.287259442556874</c:v>
                </c:pt>
                <c:pt idx="1">
                  <c:v>2.5</c:v>
                </c:pt>
                <c:pt idx="2">
                  <c:v>97.297297297297291</c:v>
                </c:pt>
                <c:pt idx="3">
                  <c:v>100</c:v>
                </c:pt>
              </c:numCache>
            </c:numRef>
          </c:val>
          <c:extLst>
            <c:ext xmlns:c16="http://schemas.microsoft.com/office/drawing/2014/chart" uri="{C3380CC4-5D6E-409C-BE32-E72D297353CC}">
              <c16:uniqueId val="{00000001-7307-43B7-A369-E3FA4A7DD867}"/>
            </c:ext>
          </c:extLst>
        </c:ser>
        <c:ser>
          <c:idx val="1"/>
          <c:order val="1"/>
          <c:tx>
            <c:strRef>
              <c:f>Sheet1!$C$1</c:f>
              <c:strCache>
                <c:ptCount val="1"/>
                <c:pt idx="0">
                  <c:v>Rest</c:v>
                </c:pt>
              </c:strCache>
            </c:strRef>
          </c:tx>
          <c:spPr>
            <a:solidFill>
              <a:srgbClr val="C00000"/>
            </a:solidFill>
            <a:ln>
              <a:noFill/>
            </a:ln>
            <a:effectLst/>
          </c:spPr>
          <c:invertIfNegative val="0"/>
          <c:cat>
            <c:strRef>
              <c:f>Sheet1!$A$2:$A$5</c:f>
              <c:strCache>
                <c:ptCount val="4"/>
                <c:pt idx="0">
                  <c:v>Covers technical content</c:v>
                </c:pt>
                <c:pt idx="1">
                  <c:v>Summary statistics</c:v>
                </c:pt>
                <c:pt idx="2">
                  <c:v>Group problem solving</c:v>
                </c:pt>
                <c:pt idx="3">
                  <c:v>Community data discussion</c:v>
                </c:pt>
              </c:strCache>
            </c:strRef>
          </c:cat>
          <c:val>
            <c:numRef>
              <c:f>Sheet1!$C$2:$C$5</c:f>
              <c:numCache>
                <c:formatCode>General</c:formatCode>
                <c:ptCount val="4"/>
                <c:pt idx="0">
                  <c:v>29.712740557443126</c:v>
                </c:pt>
                <c:pt idx="1">
                  <c:v>97.5</c:v>
                </c:pt>
                <c:pt idx="2">
                  <c:v>2.7027027027027088</c:v>
                </c:pt>
                <c:pt idx="3">
                  <c:v>0</c:v>
                </c:pt>
              </c:numCache>
            </c:numRef>
          </c:val>
          <c:extLst>
            <c:ext xmlns:c16="http://schemas.microsoft.com/office/drawing/2014/chart" uri="{C3380CC4-5D6E-409C-BE32-E72D297353CC}">
              <c16:uniqueId val="{00000002-7307-43B7-A369-E3FA4A7DD867}"/>
            </c:ext>
          </c:extLst>
        </c:ser>
        <c:dLbls>
          <c:showLegendKey val="0"/>
          <c:showVal val="0"/>
          <c:showCatName val="0"/>
          <c:showSerName val="0"/>
          <c:showPercent val="0"/>
          <c:showBubbleSize val="0"/>
        </c:dLbls>
        <c:gapWidth val="23"/>
        <c:overlap val="100"/>
        <c:axId val="4968479"/>
        <c:axId val="4954335"/>
      </c:barChart>
      <c:catAx>
        <c:axId val="496847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54335"/>
        <c:crosses val="autoZero"/>
        <c:auto val="1"/>
        <c:lblAlgn val="ctr"/>
        <c:lblOffset val="100"/>
        <c:noMultiLvlLbl val="0"/>
      </c:catAx>
      <c:valAx>
        <c:axId val="4954335"/>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68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58.48</c:v>
                </c:pt>
                <c:pt idx="1">
                  <c:v>41.52</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E37-41AA-B5EA-9A37749C8C2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TM-ANC
score</c:v>
                </c:pt>
                <c:pt idx="1">
                  <c:v>HIV counselling
and testing</c:v>
                </c:pt>
                <c:pt idx="2">
                  <c:v>Access to ART</c:v>
                </c:pt>
                <c:pt idx="3">
                  <c:v>IPTp given at ANC</c:v>
                </c:pt>
                <c:pt idx="4">
                  <c:v>TB screening</c:v>
                </c:pt>
              </c:strCache>
            </c:strRef>
          </c:cat>
          <c:val>
            <c:numRef>
              <c:f>Sheet1!$B$2:$B$6</c:f>
              <c:numCache>
                <c:formatCode>0</c:formatCode>
                <c:ptCount val="5"/>
                <c:pt idx="0">
                  <c:v>64.63</c:v>
                </c:pt>
                <c:pt idx="1">
                  <c:v>65.14</c:v>
                </c:pt>
                <c:pt idx="2">
                  <c:v>64.1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TM-ANC
score</c:v>
                </c:pt>
                <c:pt idx="1">
                  <c:v>HIV counselling
and testing</c:v>
                </c:pt>
                <c:pt idx="2">
                  <c:v>Access to ART</c:v>
                </c:pt>
                <c:pt idx="3">
                  <c:v>IPTp given at ANC</c:v>
                </c:pt>
                <c:pt idx="4">
                  <c:v>TB screening</c:v>
                </c:pt>
              </c:strCache>
            </c:strRef>
          </c:cat>
          <c:val>
            <c:numRef>
              <c:f>Sheet1!$C$2:$C$6</c:f>
              <c:numCache>
                <c:formatCode>0</c:formatCode>
                <c:ptCount val="5"/>
                <c:pt idx="0">
                  <c:v>35.370000000000005</c:v>
                </c:pt>
                <c:pt idx="1">
                  <c:v>34.86</c:v>
                </c:pt>
                <c:pt idx="2">
                  <c:v>35.870000000000005</c:v>
                </c:pt>
                <c:pt idx="4" formatCode="General">
                  <c:v>100</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B$2:$B$6</c:f>
              <c:numCache>
                <c:formatCode>0</c:formatCode>
                <c:ptCount val="5"/>
                <c:pt idx="0">
                  <c:v>65</c:v>
                </c:pt>
                <c:pt idx="1">
                  <c:v>65</c:v>
                </c:pt>
                <c:pt idx="2">
                  <c:v>64</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SS Score</c:v>
                </c:pt>
                <c:pt idx="1">
                  <c:v>Covers technical content</c:v>
                </c:pt>
                <c:pt idx="2">
                  <c:v>Summary statistics</c:v>
                </c:pt>
                <c:pt idx="3">
                  <c:v>Group problem solving</c:v>
                </c:pt>
                <c:pt idx="4">
                  <c:v>Community data discussion</c:v>
                </c:pt>
              </c:strCache>
            </c:strRef>
          </c:cat>
          <c:val>
            <c:numRef>
              <c:f>Sheet1!$C$2:$C$6</c:f>
              <c:numCache>
                <c:formatCode>0</c:formatCode>
                <c:ptCount val="5"/>
                <c:pt idx="0">
                  <c:v>35</c:v>
                </c:pt>
                <c:pt idx="1">
                  <c:v>35</c:v>
                </c:pt>
                <c:pt idx="2">
                  <c:v>36</c:v>
                </c:pt>
                <c:pt idx="4" formatCode="General">
                  <c:v>100</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1</c:f>
              <c:strCache>
                <c:ptCount val="1"/>
                <c:pt idx="0">
                  <c:v> </c:v>
                </c:pt>
              </c:strCache>
            </c:strRef>
          </c:tx>
          <c:spPr>
            <a:solidFill>
              <a:schemeClr val="accent1"/>
            </a:solidFill>
            <a:ln>
              <a:noFill/>
            </a:ln>
            <a:effectLst/>
          </c:spPr>
          <c:invertIfNegative val="0"/>
          <c:dLbls>
            <c:delete val="1"/>
          </c:dLbls>
          <c:val>
            <c:numRef>
              <c:f>Sheet1!$A$2:$A$6</c:f>
              <c:numCache>
                <c:formatCode>General</c:formatCode>
                <c:ptCount val="5"/>
                <c:pt idx="0">
                  <c:v>0</c:v>
                </c:pt>
                <c:pt idx="1">
                  <c:v>0</c:v>
                </c:pt>
                <c:pt idx="2">
                  <c:v>0</c:v>
                </c:pt>
              </c:numCache>
            </c:numRef>
          </c:val>
          <c:extLst>
            <c:ext xmlns:c16="http://schemas.microsoft.com/office/drawing/2014/chart" uri="{C3380CC4-5D6E-409C-BE32-E72D297353CC}">
              <c16:uniqueId val="{00000000-3A27-422E-BC8C-71696D431EAE}"/>
            </c:ext>
          </c:extLst>
        </c:ser>
        <c:ser>
          <c:idx val="1"/>
          <c:order val="1"/>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6</c:f>
              <c:numCache>
                <c:formatCode>0</c:formatCode>
                <c:ptCount val="5"/>
                <c:pt idx="0">
                  <c:v>56.494286625295452</c:v>
                </c:pt>
                <c:pt idx="1">
                  <c:v>67.184344616277585</c:v>
                </c:pt>
                <c:pt idx="2">
                  <c:v>46.278054210233108</c:v>
                </c:pt>
              </c:numCache>
            </c:numRef>
          </c:val>
          <c:extLst>
            <c:ext xmlns:c16="http://schemas.microsoft.com/office/drawing/2014/chart" uri="{C3380CC4-5D6E-409C-BE32-E72D297353CC}">
              <c16:uniqueId val="{00000001-3A27-422E-BC8C-71696D431EAE}"/>
            </c:ext>
          </c:extLst>
        </c:ser>
        <c:ser>
          <c:idx val="2"/>
          <c:order val="2"/>
          <c:tx>
            <c:strRef>
              <c:f>Sheet1!$C$1</c:f>
              <c:strCache>
                <c:ptCount val="1"/>
                <c:pt idx="0">
                  <c:v>Series 2</c:v>
                </c:pt>
              </c:strCache>
            </c:strRef>
          </c:tx>
          <c:spPr>
            <a:solidFill>
              <a:srgbClr val="B3092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6</c:f>
              <c:numCache>
                <c:formatCode>0</c:formatCode>
                <c:ptCount val="5"/>
                <c:pt idx="0">
                  <c:v>43.505713374704548</c:v>
                </c:pt>
                <c:pt idx="1">
                  <c:v>32.815655383722415</c:v>
                </c:pt>
                <c:pt idx="2">
                  <c:v>53.721945789766892</c:v>
                </c:pt>
              </c:numCache>
            </c:numRef>
          </c:val>
          <c:extLst>
            <c:ext xmlns:c16="http://schemas.microsoft.com/office/drawing/2014/chart" uri="{C3380CC4-5D6E-409C-BE32-E72D297353CC}">
              <c16:uniqueId val="{00000000-D88C-4B44-B231-FDE2628120CF}"/>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38472091559017"/>
          <c:y val="0"/>
          <c:w val="0.55761527908440978"/>
          <c:h val="0.99586866546477826"/>
        </c:manualLayout>
      </c:layout>
      <c:barChart>
        <c:barDir val="bar"/>
        <c:grouping val="percentStacked"/>
        <c:varyColors val="0"/>
        <c:ser>
          <c:idx val="0"/>
          <c:order val="0"/>
          <c:tx>
            <c:strRef>
              <c:f>Sheet1!$B$1</c:f>
              <c:strCache>
                <c:ptCount val="1"/>
                <c:pt idx="0">
                  <c:v>Score</c:v>
                </c:pt>
              </c:strCache>
            </c:strRef>
          </c:tx>
          <c:spPr>
            <a:solidFill>
              <a:srgbClr val="2E4DF9"/>
            </a:solidFill>
            <a:ln>
              <a:noFill/>
            </a:ln>
            <a:effectLst/>
          </c:spPr>
          <c:invertIfNegative val="0"/>
          <c:dLbls>
            <c:dLbl>
              <c:idx val="1"/>
              <c:tx>
                <c:rich>
                  <a:bodyPr/>
                  <a:lstStyle/>
                  <a:p>
                    <a:fld id="{7D5BAE6E-5020-4E17-8631-F4F1B1F2ECF8}" type="VALUE">
                      <a:rPr lang="en-US">
                        <a:solidFill>
                          <a:schemeClr val="bg1">
                            <a:lumMod val="65000"/>
                          </a:schemeClr>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307-43B7-A369-E3FA4A7DD867}"/>
                </c:ext>
              </c:extLst>
            </c:dLbl>
            <c:numFmt formatCode="#,##0" sourceLinked="0"/>
            <c:spPr>
              <a:solidFill>
                <a:srgbClr val="2E4DF9"/>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B screening</c:v>
                </c:pt>
                <c:pt idx="1">
                  <c:v>IPTp given at ANC</c:v>
                </c:pt>
                <c:pt idx="2">
                  <c:v>Access to ART</c:v>
                </c:pt>
                <c:pt idx="3">
                  <c:v>HIV counselling
and testing</c:v>
                </c:pt>
              </c:strCache>
            </c:strRef>
          </c:cat>
          <c:val>
            <c:numRef>
              <c:f>Sheet1!$B$2:$B$5</c:f>
              <c:numCache>
                <c:formatCode>General</c:formatCode>
                <c:ptCount val="4"/>
                <c:pt idx="0">
                  <c:v>70.287259442556874</c:v>
                </c:pt>
                <c:pt idx="1">
                  <c:v>2.5</c:v>
                </c:pt>
                <c:pt idx="2">
                  <c:v>97.297297297297291</c:v>
                </c:pt>
                <c:pt idx="3">
                  <c:v>100</c:v>
                </c:pt>
              </c:numCache>
            </c:numRef>
          </c:val>
          <c:extLst>
            <c:ext xmlns:c16="http://schemas.microsoft.com/office/drawing/2014/chart" uri="{C3380CC4-5D6E-409C-BE32-E72D297353CC}">
              <c16:uniqueId val="{00000001-7307-43B7-A369-E3FA4A7DD867}"/>
            </c:ext>
          </c:extLst>
        </c:ser>
        <c:ser>
          <c:idx val="1"/>
          <c:order val="1"/>
          <c:tx>
            <c:strRef>
              <c:f>Sheet1!$C$1</c:f>
              <c:strCache>
                <c:ptCount val="1"/>
                <c:pt idx="0">
                  <c:v>Rest</c:v>
                </c:pt>
              </c:strCache>
            </c:strRef>
          </c:tx>
          <c:spPr>
            <a:solidFill>
              <a:srgbClr val="C00000"/>
            </a:solidFill>
            <a:ln>
              <a:noFill/>
            </a:ln>
            <a:effectLst/>
          </c:spPr>
          <c:invertIfNegative val="0"/>
          <c:cat>
            <c:strRef>
              <c:f>Sheet1!$A$2:$A$5</c:f>
              <c:strCache>
                <c:ptCount val="4"/>
                <c:pt idx="0">
                  <c:v>TB screening</c:v>
                </c:pt>
                <c:pt idx="1">
                  <c:v>IPTp given at ANC</c:v>
                </c:pt>
                <c:pt idx="2">
                  <c:v>Access to ART</c:v>
                </c:pt>
                <c:pt idx="3">
                  <c:v>HIV counselling
and testing</c:v>
                </c:pt>
              </c:strCache>
            </c:strRef>
          </c:cat>
          <c:val>
            <c:numRef>
              <c:f>Sheet1!$C$2:$C$5</c:f>
              <c:numCache>
                <c:formatCode>General</c:formatCode>
                <c:ptCount val="4"/>
                <c:pt idx="0">
                  <c:v>29.712740557443126</c:v>
                </c:pt>
                <c:pt idx="1">
                  <c:v>97.5</c:v>
                </c:pt>
                <c:pt idx="2">
                  <c:v>2.7027027027027088</c:v>
                </c:pt>
                <c:pt idx="3">
                  <c:v>0</c:v>
                </c:pt>
              </c:numCache>
            </c:numRef>
          </c:val>
          <c:extLst>
            <c:ext xmlns:c16="http://schemas.microsoft.com/office/drawing/2014/chart" uri="{C3380CC4-5D6E-409C-BE32-E72D297353CC}">
              <c16:uniqueId val="{00000002-7307-43B7-A369-E3FA4A7DD867}"/>
            </c:ext>
          </c:extLst>
        </c:ser>
        <c:dLbls>
          <c:showLegendKey val="0"/>
          <c:showVal val="0"/>
          <c:showCatName val="0"/>
          <c:showSerName val="0"/>
          <c:showPercent val="0"/>
          <c:showBubbleSize val="0"/>
        </c:dLbls>
        <c:gapWidth val="23"/>
        <c:overlap val="100"/>
        <c:axId val="4968479"/>
        <c:axId val="4954335"/>
      </c:barChart>
      <c:catAx>
        <c:axId val="496847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54335"/>
        <c:crosses val="autoZero"/>
        <c:auto val="1"/>
        <c:lblAlgn val="ctr"/>
        <c:lblOffset val="100"/>
        <c:noMultiLvlLbl val="0"/>
      </c:catAx>
      <c:valAx>
        <c:axId val="4954335"/>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68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59</c:v>
                </c:pt>
                <c:pt idx="1">
                  <c:v>89</c:v>
                </c:pt>
                <c:pt idx="2" formatCode="General">
                  <c:v>50</c:v>
                </c:pt>
                <c:pt idx="3" formatCode="General">
                  <c:v>70</c:v>
                </c:pt>
                <c:pt idx="4" formatCode="General">
                  <c:v>79</c:v>
                </c:pt>
                <c:pt idx="5" formatCode="General">
                  <c:v>74</c:v>
                </c:pt>
                <c:pt idx="6" formatCode="General">
                  <c:v>67</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41</c:v>
                </c:pt>
                <c:pt idx="1">
                  <c:v>11</c:v>
                </c:pt>
                <c:pt idx="2">
                  <c:v>50</c:v>
                </c:pt>
                <c:pt idx="3" formatCode="General">
                  <c:v>30</c:v>
                </c:pt>
                <c:pt idx="4" formatCode="General">
                  <c:v>21</c:v>
                </c:pt>
                <c:pt idx="5" formatCode="General">
                  <c:v>26</c:v>
                </c:pt>
                <c:pt idx="6" formatCode="General">
                  <c:v>33</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62</c:v>
                </c:pt>
                <c:pt idx="1">
                  <c:v>79</c:v>
                </c:pt>
                <c:pt idx="2" formatCode="General">
                  <c:v>60</c:v>
                </c:pt>
                <c:pt idx="3" formatCode="General">
                  <c:v>52</c:v>
                </c:pt>
                <c:pt idx="4" formatCode="General">
                  <c:v>91</c:v>
                </c:pt>
                <c:pt idx="5" formatCode="General">
                  <c:v>68</c:v>
                </c:pt>
                <c:pt idx="6" formatCode="General">
                  <c:v>8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38</c:v>
                </c:pt>
                <c:pt idx="1">
                  <c:v>21</c:v>
                </c:pt>
                <c:pt idx="2">
                  <c:v>40</c:v>
                </c:pt>
                <c:pt idx="3">
                  <c:v>48</c:v>
                </c:pt>
                <c:pt idx="4">
                  <c:v>9</c:v>
                </c:pt>
                <c:pt idx="5">
                  <c:v>32</c:v>
                </c:pt>
                <c:pt idx="6">
                  <c:v>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63</c:v>
                </c:pt>
                <c:pt idx="1">
                  <c:v>73</c:v>
                </c:pt>
                <c:pt idx="2" formatCode="General">
                  <c:v>75</c:v>
                </c:pt>
                <c:pt idx="3" formatCode="General">
                  <c:v>41</c:v>
                </c:pt>
                <c:pt idx="4" formatCode="General">
                  <c:v>91</c:v>
                </c:pt>
                <c:pt idx="5" formatCode="General">
                  <c:v>69</c:v>
                </c:pt>
                <c:pt idx="6" formatCode="General">
                  <c:v>78</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38</c:v>
                </c:pt>
                <c:pt idx="1">
                  <c:v>21</c:v>
                </c:pt>
                <c:pt idx="2" formatCode="General">
                  <c:v>40</c:v>
                </c:pt>
                <c:pt idx="3" formatCode="General">
                  <c:v>48</c:v>
                </c:pt>
                <c:pt idx="4" formatCode="General">
                  <c:v>9</c:v>
                </c:pt>
                <c:pt idx="5" formatCode="General">
                  <c:v>32</c:v>
                </c:pt>
                <c:pt idx="6" formatCode="General">
                  <c:v>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7029117069762333E-2"/>
          <c:w val="1"/>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5768197995467452"/>
                      <c:h val="0.3235060059013839"/>
                    </c:manualLayout>
                  </c15:layout>
                </c:ext>
                <c:ext xmlns:c16="http://schemas.microsoft.com/office/drawing/2014/chart" uri="{C3380CC4-5D6E-409C-BE32-E72D297353CC}">
                  <c16:uniqueId val="{00000000-67AC-4B1F-9AEA-37D3D05C5BC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1</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Pt>
            <c:idx val="1"/>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1-BC8E-461E-92EB-8F04B72AF730}"/>
              </c:ext>
            </c:extLst>
          </c:dPt>
          <c:dPt>
            <c:idx val="3"/>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3-BC8E-461E-92EB-8F04B72AF730}"/>
              </c:ext>
            </c:extLst>
          </c:dPt>
          <c:dPt>
            <c:idx val="4"/>
            <c:invertIfNegative val="0"/>
            <c:bubble3D val="0"/>
            <c:spPr>
              <a:solidFill>
                <a:schemeClr val="accent2">
                  <a:lumMod val="20000"/>
                  <a:lumOff val="80000"/>
                </a:schemeClr>
              </a:solidFill>
              <a:ln>
                <a:noFill/>
              </a:ln>
            </c:spPr>
            <c:extLst>
              <c:ext xmlns:c16="http://schemas.microsoft.com/office/drawing/2014/chart" uri="{C3380CC4-5D6E-409C-BE32-E72D297353CC}">
                <c16:uniqueId val="{00000001-A662-4547-91F7-5D349D80F8A8}"/>
              </c:ext>
            </c:extLst>
          </c:dPt>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chemeClr val="accent2">
                    <a:lumMod val="20000"/>
                    <a:lumOff val="80000"/>
                  </a:schemeClr>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85.714285714285708</c:v>
                </c:pt>
                <c:pt idx="2">
                  <c:v>100</c:v>
                </c:pt>
                <c:pt idx="3">
                  <c:v>96.825396825396822</c:v>
                </c:pt>
                <c:pt idx="4">
                  <c:v>98.412698412698404</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507189653705437"/>
          <c:w val="1"/>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2380661687254623"/>
                      <c:h val="0.42645881515744521"/>
                    </c:manualLayout>
                  </c15:layout>
                </c:ext>
                <c:ext xmlns:c16="http://schemas.microsoft.com/office/drawing/2014/chart" uri="{C3380CC4-5D6E-409C-BE32-E72D297353CC}">
                  <c16:uniqueId val="{00000000-8C60-475B-B959-5D251697043B}"/>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1</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39876791471156E-2"/>
          <c:y val="0.13507189653705437"/>
          <c:w val="0.92399214785023465"/>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2246281400619237"/>
                      <c:h val="0.42645881515744521"/>
                    </c:manualLayout>
                  </c15:layout>
                </c:ext>
                <c:ext xmlns:c16="http://schemas.microsoft.com/office/drawing/2014/chart" uri="{C3380CC4-5D6E-409C-BE32-E72D297353CC}">
                  <c16:uniqueId val="{00000000-9C4C-4C40-96AD-A63EB8B2FEE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0</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38472091559017"/>
          <c:y val="0"/>
          <c:w val="0.55761527908440978"/>
          <c:h val="0.99586866546477826"/>
        </c:manualLayout>
      </c:layout>
      <c:barChart>
        <c:barDir val="bar"/>
        <c:grouping val="percentStacked"/>
        <c:varyColors val="0"/>
        <c:ser>
          <c:idx val="0"/>
          <c:order val="0"/>
          <c:tx>
            <c:strRef>
              <c:f>Sheet1!$B$1</c:f>
              <c:strCache>
                <c:ptCount val="1"/>
                <c:pt idx="0">
                  <c:v>Score</c:v>
                </c:pt>
              </c:strCache>
            </c:strRef>
          </c:tx>
          <c:spPr>
            <a:solidFill>
              <a:srgbClr val="2E4DF9"/>
            </a:solidFill>
            <a:ln>
              <a:noFill/>
            </a:ln>
            <a:effectLst/>
          </c:spPr>
          <c:invertIfNegative val="0"/>
          <c:dLbls>
            <c:dLbl>
              <c:idx val="1"/>
              <c:tx>
                <c:rich>
                  <a:bodyPr/>
                  <a:lstStyle/>
                  <a:p>
                    <a:fld id="{7D5BAE6E-5020-4E17-8631-F4F1B1F2ECF8}" type="VALUE">
                      <a:rPr lang="en-US">
                        <a:solidFill>
                          <a:schemeClr val="bg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307-43B7-A369-E3FA4A7DD867}"/>
                </c:ext>
              </c:extLst>
            </c:dLbl>
            <c:numFmt formatCode="#,##0" sourceLinked="0"/>
            <c:spPr>
              <a:solidFill>
                <a:srgbClr val="2E4DF9"/>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2-month ART retention</c:v>
                </c:pt>
                <c:pt idx="1">
                  <c:v>TB treatment completion</c:v>
                </c:pt>
                <c:pt idx="2">
                  <c:v>DPT dropout score</c:v>
                </c:pt>
                <c:pt idx="3">
                  <c:v>ANC dropout score</c:v>
                </c:pt>
                <c:pt idx="4">
                  <c:v>Provider caseload</c:v>
                </c:pt>
                <c:pt idx="5">
                  <c:v>Provider availability</c:v>
                </c:pt>
                <c:pt idx="6">
                  <c:v>Integrated HTM w/ ANC</c:v>
                </c:pt>
              </c:strCache>
            </c:strRef>
          </c:cat>
          <c:val>
            <c:numRef>
              <c:f>Sheet1!$B$2:$B$8</c:f>
              <c:numCache>
                <c:formatCode>General</c:formatCode>
                <c:ptCount val="7"/>
                <c:pt idx="0">
                  <c:v>80</c:v>
                </c:pt>
                <c:pt idx="1">
                  <c:v>69</c:v>
                </c:pt>
                <c:pt idx="2">
                  <c:v>91</c:v>
                </c:pt>
                <c:pt idx="3">
                  <c:v>47</c:v>
                </c:pt>
                <c:pt idx="4">
                  <c:v>68</c:v>
                </c:pt>
                <c:pt idx="5">
                  <c:v>76</c:v>
                </c:pt>
                <c:pt idx="6">
                  <c:v>63</c:v>
                </c:pt>
              </c:numCache>
            </c:numRef>
          </c:val>
          <c:extLst>
            <c:ext xmlns:c16="http://schemas.microsoft.com/office/drawing/2014/chart" uri="{C3380CC4-5D6E-409C-BE32-E72D297353CC}">
              <c16:uniqueId val="{00000001-7307-43B7-A369-E3FA4A7DD867}"/>
            </c:ext>
          </c:extLst>
        </c:ser>
        <c:ser>
          <c:idx val="1"/>
          <c:order val="1"/>
          <c:tx>
            <c:strRef>
              <c:f>Sheet1!$C$1</c:f>
              <c:strCache>
                <c:ptCount val="1"/>
                <c:pt idx="0">
                  <c:v>Rest</c:v>
                </c:pt>
              </c:strCache>
            </c:strRef>
          </c:tx>
          <c:spPr>
            <a:solidFill>
              <a:srgbClr val="C00000"/>
            </a:solidFill>
            <a:ln>
              <a:noFill/>
            </a:ln>
            <a:effectLst/>
          </c:spPr>
          <c:invertIfNegative val="0"/>
          <c:cat>
            <c:strRef>
              <c:f>Sheet1!$A$2:$A$8</c:f>
              <c:strCache>
                <c:ptCount val="7"/>
                <c:pt idx="0">
                  <c:v>12-month ART retention</c:v>
                </c:pt>
                <c:pt idx="1">
                  <c:v>TB treatment completion</c:v>
                </c:pt>
                <c:pt idx="2">
                  <c:v>DPT dropout score</c:v>
                </c:pt>
                <c:pt idx="3">
                  <c:v>ANC dropout score</c:v>
                </c:pt>
                <c:pt idx="4">
                  <c:v>Provider caseload</c:v>
                </c:pt>
                <c:pt idx="5">
                  <c:v>Provider availability</c:v>
                </c:pt>
                <c:pt idx="6">
                  <c:v>Integrated HTM w/ ANC</c:v>
                </c:pt>
              </c:strCache>
            </c:strRef>
          </c:cat>
          <c:val>
            <c:numRef>
              <c:f>Sheet1!$C$2:$C$8</c:f>
              <c:numCache>
                <c:formatCode>General</c:formatCode>
                <c:ptCount val="7"/>
                <c:pt idx="0">
                  <c:v>20</c:v>
                </c:pt>
                <c:pt idx="1">
                  <c:v>31</c:v>
                </c:pt>
                <c:pt idx="2">
                  <c:v>9</c:v>
                </c:pt>
                <c:pt idx="3">
                  <c:v>53</c:v>
                </c:pt>
                <c:pt idx="4">
                  <c:v>32</c:v>
                </c:pt>
                <c:pt idx="5">
                  <c:v>24</c:v>
                </c:pt>
                <c:pt idx="6">
                  <c:v>37</c:v>
                </c:pt>
              </c:numCache>
            </c:numRef>
          </c:val>
          <c:extLst>
            <c:ext xmlns:c16="http://schemas.microsoft.com/office/drawing/2014/chart" uri="{C3380CC4-5D6E-409C-BE32-E72D297353CC}">
              <c16:uniqueId val="{00000002-7307-43B7-A369-E3FA4A7DD867}"/>
            </c:ext>
          </c:extLst>
        </c:ser>
        <c:dLbls>
          <c:showLegendKey val="0"/>
          <c:showVal val="0"/>
          <c:showCatName val="0"/>
          <c:showSerName val="0"/>
          <c:showPercent val="0"/>
          <c:showBubbleSize val="0"/>
        </c:dLbls>
        <c:gapWidth val="23"/>
        <c:overlap val="100"/>
        <c:axId val="4968479"/>
        <c:axId val="4954335"/>
      </c:barChart>
      <c:catAx>
        <c:axId val="496847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54335"/>
        <c:crosses val="autoZero"/>
        <c:auto val="1"/>
        <c:lblAlgn val="ctr"/>
        <c:lblOffset val="100"/>
        <c:noMultiLvlLbl val="0"/>
      </c:catAx>
      <c:valAx>
        <c:axId val="4954335"/>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68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General</c:formatCode>
                <c:ptCount val="3"/>
                <c:pt idx="2" formatCode="0">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General</c:formatCode>
                <c:ptCount val="3"/>
                <c:pt idx="2" formatCode="0">
                  <c:v>6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0</c:formatCode>
                <c:ptCount val="3"/>
                <c:pt idx="0">
                  <c:v>47.86</c:v>
                </c:pt>
                <c:pt idx="1">
                  <c:v>83.75</c:v>
                </c:pt>
                <c:pt idx="2">
                  <c:v>56.1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0</c:formatCode>
                <c:ptCount val="3"/>
                <c:pt idx="0">
                  <c:v>52.14</c:v>
                </c:pt>
                <c:pt idx="1">
                  <c:v>16.25</c:v>
                </c:pt>
                <c:pt idx="2">
                  <c:v>43.8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0</c:formatCode>
                <c:ptCount val="3"/>
                <c:pt idx="0">
                  <c:v>54</c:v>
                </c:pt>
                <c:pt idx="1">
                  <c:v>100</c:v>
                </c:pt>
                <c:pt idx="2">
                  <c:v>77</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0</c:formatCode>
                <c:ptCount val="3"/>
                <c:pt idx="0">
                  <c:v>46</c:v>
                </c:pt>
                <c:pt idx="1">
                  <c:v>0</c:v>
                </c:pt>
                <c:pt idx="2">
                  <c:v>23</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7029117069762333E-2"/>
          <c:w val="1"/>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5768197995467452"/>
                      <c:h val="0.3235060059013839"/>
                    </c:manualLayout>
                  </c15:layout>
                </c:ext>
                <c:ext xmlns:c16="http://schemas.microsoft.com/office/drawing/2014/chart" uri="{C3380CC4-5D6E-409C-BE32-E72D297353CC}">
                  <c16:uniqueId val="{00000000-67AC-4B1F-9AEA-37D3D05C5BC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Type
Average</c:v>
                </c:pt>
              </c:strCache>
            </c:strRef>
          </c:cat>
          <c:val>
            <c:numRef>
              <c:f>Sheet1!$B$2</c:f>
              <c:numCache>
                <c:formatCode>0</c:formatCode>
                <c:ptCount val="1"/>
                <c:pt idx="0">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Type
Average</c:v>
                </c:pt>
              </c:strCache>
            </c:strRef>
          </c:cat>
          <c:val>
            <c:numRef>
              <c:f>Sheet1!$C$2</c:f>
              <c:numCache>
                <c:formatCode>0</c:formatCode>
                <c:ptCount val="1"/>
                <c:pt idx="0">
                  <c:v>6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507189653705437"/>
          <c:w val="1"/>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2380661687254623"/>
                      <c:h val="0.42645881515744521"/>
                    </c:manualLayout>
                  </c15:layout>
                </c:ext>
                <c:ext xmlns:c16="http://schemas.microsoft.com/office/drawing/2014/chart" uri="{C3380CC4-5D6E-409C-BE32-E72D297353CC}">
                  <c16:uniqueId val="{00000000-8C60-475B-B959-5D251697043B}"/>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score</c:v>
                </c:pt>
              </c:strCache>
            </c:strRef>
          </c:cat>
          <c:val>
            <c:numRef>
              <c:f>Sheet1!$B$2</c:f>
              <c:numCache>
                <c:formatCode>0</c:formatCode>
                <c:ptCount val="1"/>
                <c:pt idx="0">
                  <c:v>58.02</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score</c:v>
                </c:pt>
              </c:strCache>
            </c:strRef>
          </c:cat>
          <c:val>
            <c:numRef>
              <c:f>Sheet1!$C$2</c:f>
              <c:numCache>
                <c:formatCode>0</c:formatCode>
                <c:ptCount val="1"/>
                <c:pt idx="0">
                  <c:v>41.98</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39876791471156E-2"/>
          <c:y val="0.13507189653705437"/>
          <c:w val="0.92399214785023465"/>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2246281400619237"/>
                      <c:h val="0.42645881515744521"/>
                    </c:manualLayout>
                  </c15:layout>
                </c:ext>
                <c:ext xmlns:c16="http://schemas.microsoft.com/office/drawing/2014/chart" uri="{C3380CC4-5D6E-409C-BE32-E72D297353CC}">
                  <c16:uniqueId val="{00000000-9C4C-4C40-96AD-A63EB8B2FEE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score</c:v>
                </c:pt>
              </c:strCache>
            </c:strRef>
          </c:cat>
          <c:val>
            <c:numRef>
              <c:f>Sheet1!$B$2</c:f>
              <c:numCache>
                <c:formatCode>0</c:formatCode>
                <c:ptCount val="1"/>
                <c:pt idx="0">
                  <c:v>56.8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score</c:v>
                </c:pt>
              </c:strCache>
            </c:strRef>
          </c:cat>
          <c:val>
            <c:numRef>
              <c:f>Sheet1!$C$2</c:f>
              <c:numCache>
                <c:formatCode>0</c:formatCode>
                <c:ptCount val="1"/>
                <c:pt idx="0">
                  <c:v>43.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100</c:v>
                </c:pt>
                <c:pt idx="2">
                  <c:v>100</c:v>
                </c:pt>
                <c:pt idx="3">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General</c:formatCode>
                <c:ptCount val="3"/>
                <c:pt idx="2" formatCode="0">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General</c:formatCode>
                <c:ptCount val="3"/>
                <c:pt idx="2" formatCode="0">
                  <c:v>6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0</c:formatCode>
                <c:ptCount val="3"/>
                <c:pt idx="0">
                  <c:v>47.86</c:v>
                </c:pt>
                <c:pt idx="1">
                  <c:v>83.75</c:v>
                </c:pt>
                <c:pt idx="2">
                  <c:v>56.1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0</c:formatCode>
                <c:ptCount val="3"/>
                <c:pt idx="0">
                  <c:v>52.14</c:v>
                </c:pt>
                <c:pt idx="1">
                  <c:v>16.25</c:v>
                </c:pt>
                <c:pt idx="2">
                  <c:v>43.8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ural</c:v>
                </c:pt>
                <c:pt idx="1">
                  <c:v>Peri-urban</c:v>
                </c:pt>
                <c:pt idx="2">
                  <c:v>Urban</c:v>
                </c:pt>
              </c:strCache>
            </c:strRef>
          </c:cat>
          <c:val>
            <c:numRef>
              <c:f>Sheet1!$B$2:$B$4</c:f>
              <c:numCache>
                <c:formatCode>0</c:formatCode>
                <c:ptCount val="3"/>
                <c:pt idx="0">
                  <c:v>54</c:v>
                </c:pt>
                <c:pt idx="1">
                  <c:v>100</c:v>
                </c:pt>
                <c:pt idx="2">
                  <c:v>77</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4</c:f>
              <c:strCache>
                <c:ptCount val="3"/>
                <c:pt idx="0">
                  <c:v>Rural</c:v>
                </c:pt>
                <c:pt idx="1">
                  <c:v>Peri-urban</c:v>
                </c:pt>
                <c:pt idx="2">
                  <c:v>Urban</c:v>
                </c:pt>
              </c:strCache>
            </c:strRef>
          </c:cat>
          <c:val>
            <c:numRef>
              <c:f>Sheet1!$C$2:$C$4</c:f>
              <c:numCache>
                <c:formatCode>0</c:formatCode>
                <c:ptCount val="3"/>
                <c:pt idx="0">
                  <c:v>46</c:v>
                </c:pt>
                <c:pt idx="1">
                  <c:v>0</c:v>
                </c:pt>
                <c:pt idx="2">
                  <c:v>23</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7029117069762333E-2"/>
          <c:w val="1"/>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5768197995467452"/>
                      <c:h val="0.3235060059013839"/>
                    </c:manualLayout>
                  </c15:layout>
                </c:ext>
                <c:ext xmlns:c16="http://schemas.microsoft.com/office/drawing/2014/chart" uri="{C3380CC4-5D6E-409C-BE32-E72D297353CC}">
                  <c16:uniqueId val="{00000000-67AC-4B1F-9AEA-37D3D05C5BC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Type
Average</c:v>
                </c:pt>
              </c:strCache>
            </c:strRef>
          </c:cat>
          <c:val>
            <c:numRef>
              <c:f>Sheet1!$B$2</c:f>
              <c:numCache>
                <c:formatCode>0</c:formatCode>
                <c:ptCount val="1"/>
                <c:pt idx="0">
                  <c:v>35</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Type
Average</c:v>
                </c:pt>
              </c:strCache>
            </c:strRef>
          </c:cat>
          <c:val>
            <c:numRef>
              <c:f>Sheet1!$C$2</c:f>
              <c:numCache>
                <c:formatCode>0</c:formatCode>
                <c:ptCount val="1"/>
                <c:pt idx="0">
                  <c:v>65</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507189653705437"/>
          <c:w val="1"/>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2380661687254623"/>
                      <c:h val="0.42645881515744521"/>
                    </c:manualLayout>
                  </c15:layout>
                </c:ext>
                <c:ext xmlns:c16="http://schemas.microsoft.com/office/drawing/2014/chart" uri="{C3380CC4-5D6E-409C-BE32-E72D297353CC}">
                  <c16:uniqueId val="{00000000-8C60-475B-B959-5D251697043B}"/>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score</c:v>
                </c:pt>
              </c:strCache>
            </c:strRef>
          </c:cat>
          <c:val>
            <c:numRef>
              <c:f>Sheet1!$B$2</c:f>
              <c:numCache>
                <c:formatCode>0</c:formatCode>
                <c:ptCount val="1"/>
                <c:pt idx="0">
                  <c:v>58.02</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score</c:v>
                </c:pt>
              </c:strCache>
            </c:strRef>
          </c:cat>
          <c:val>
            <c:numRef>
              <c:f>Sheet1!$C$2</c:f>
              <c:numCache>
                <c:formatCode>0</c:formatCode>
                <c:ptCount val="1"/>
                <c:pt idx="0">
                  <c:v>41.98</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39876791471156E-2"/>
          <c:y val="0.13507189653705437"/>
          <c:w val="0.92399214785023465"/>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2246281400619237"/>
                      <c:h val="0.42645881515744521"/>
                    </c:manualLayout>
                  </c15:layout>
                </c:ext>
                <c:ext xmlns:c16="http://schemas.microsoft.com/office/drawing/2014/chart" uri="{C3380CC4-5D6E-409C-BE32-E72D297353CC}">
                  <c16:uniqueId val="{00000000-9C4C-4C40-96AD-A63EB8B2FEE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Facility
score</c:v>
                </c:pt>
              </c:strCache>
            </c:strRef>
          </c:cat>
          <c:val>
            <c:numRef>
              <c:f>Sheet1!$B$2</c:f>
              <c:numCache>
                <c:formatCode>0</c:formatCode>
                <c:ptCount val="1"/>
                <c:pt idx="0">
                  <c:v>56.8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c:f>
              <c:strCache>
                <c:ptCount val="1"/>
                <c:pt idx="0">
                  <c:v>Facility
score</c:v>
                </c:pt>
              </c:strCache>
            </c:strRef>
          </c:cat>
          <c:val>
            <c:numRef>
              <c:f>Sheet1!$C$2</c:f>
              <c:numCache>
                <c:formatCode>0</c:formatCode>
                <c:ptCount val="1"/>
                <c:pt idx="0">
                  <c:v>43.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40756267850632E-2"/>
          <c:y val="9.7029117069762333E-2"/>
          <c:w val="0.95351848746429879"/>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59</c:v>
                </c:pt>
                <c:pt idx="1">
                  <c:v>89</c:v>
                </c:pt>
                <c:pt idx="2" formatCode="General">
                  <c:v>50</c:v>
                </c:pt>
                <c:pt idx="3" formatCode="General">
                  <c:v>70</c:v>
                </c:pt>
                <c:pt idx="4" formatCode="General">
                  <c:v>79</c:v>
                </c:pt>
                <c:pt idx="5" formatCode="General">
                  <c:v>74</c:v>
                </c:pt>
                <c:pt idx="6" formatCode="General">
                  <c:v>67</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41</c:v>
                </c:pt>
                <c:pt idx="1">
                  <c:v>11</c:v>
                </c:pt>
                <c:pt idx="2">
                  <c:v>50</c:v>
                </c:pt>
                <c:pt idx="3" formatCode="General">
                  <c:v>30</c:v>
                </c:pt>
                <c:pt idx="4" formatCode="General">
                  <c:v>21</c:v>
                </c:pt>
                <c:pt idx="5" formatCode="General">
                  <c:v>26</c:v>
                </c:pt>
                <c:pt idx="6" formatCode="General">
                  <c:v>33</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62</c:v>
                </c:pt>
                <c:pt idx="1">
                  <c:v>79</c:v>
                </c:pt>
                <c:pt idx="2" formatCode="General">
                  <c:v>60</c:v>
                </c:pt>
                <c:pt idx="3" formatCode="General">
                  <c:v>52</c:v>
                </c:pt>
                <c:pt idx="4" formatCode="General">
                  <c:v>91</c:v>
                </c:pt>
                <c:pt idx="5" formatCode="General">
                  <c:v>68</c:v>
                </c:pt>
                <c:pt idx="6" formatCode="General">
                  <c:v>83</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38</c:v>
                </c:pt>
                <c:pt idx="1">
                  <c:v>21</c:v>
                </c:pt>
                <c:pt idx="2">
                  <c:v>40</c:v>
                </c:pt>
                <c:pt idx="3">
                  <c:v>48</c:v>
                </c:pt>
                <c:pt idx="4">
                  <c:v>9</c:v>
                </c:pt>
                <c:pt idx="5">
                  <c:v>32</c:v>
                </c:pt>
                <c:pt idx="6">
                  <c:v>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0.10947368421052632"/>
          <c:w val="0.96189080249175518"/>
          <c:h val="0.78105263157894733"/>
        </c:manualLayout>
      </c:layout>
      <c:barChart>
        <c:barDir val="col"/>
        <c:grouping val="stacked"/>
        <c:varyColors val="0"/>
        <c:ser>
          <c:idx val="0"/>
          <c:order val="0"/>
          <c:spPr>
            <a:solidFill>
              <a:srgbClr val="D6D7D9"/>
            </a:solidFill>
            <a:ln>
              <a:noFill/>
            </a:ln>
          </c:spPr>
          <c:invertIfNegative val="0"/>
          <c:dLbls>
            <c:dLbl>
              <c:idx val="0"/>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8E-461E-92EB-8F04B72AF730}"/>
                </c:ext>
              </c:extLst>
            </c:dLbl>
            <c:dLbl>
              <c:idx val="1"/>
              <c:layout>
                <c:manualLayout>
                  <c:x val="0"/>
                  <c:y val="-6.3157894736842104E-3"/>
                </c:manualLayout>
              </c:layout>
              <c:numFmt formatCode="#,##0&quot;%&quot;;&quot;-&quot;#,##0&quot;%&quot;" sourceLinked="0"/>
              <c:spPr>
                <a:solidFill>
                  <a:srgbClr val="D6D7D9"/>
                </a:solid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8E-461E-92EB-8F04B72AF730}"/>
                </c:ext>
              </c:extLst>
            </c:dLbl>
            <c:dLbl>
              <c:idx val="2"/>
              <c:layout>
                <c:manualLayout>
                  <c:x val="0"/>
                  <c:y val="-8.4210526315789472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8E-461E-92EB-8F04B72AF730}"/>
                </c:ext>
              </c:extLst>
            </c:dLbl>
            <c:dLbl>
              <c:idx val="3"/>
              <c:layout>
                <c:manualLayout>
                  <c:x val="0"/>
                  <c:y val="-6.3157894736842104E-3"/>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8E-461E-92EB-8F04B72AF730}"/>
                </c:ext>
              </c:extLst>
            </c:dLbl>
            <c:dLbl>
              <c:idx val="4"/>
              <c:tx>
                <c:rich>
                  <a:bodyPr/>
                  <a:lstStyle/>
                  <a:p>
                    <a:fld id="{5B1F49FE-7F7E-4F30-A7DD-BC028B38A827}"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62-4547-91F7-5D349D80F8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E$1</c:f>
              <c:numCache>
                <c:formatCode>0</c:formatCode>
                <c:ptCount val="5"/>
                <c:pt idx="0">
                  <c:v>100</c:v>
                </c:pt>
                <c:pt idx="1">
                  <c:v>100</c:v>
                </c:pt>
                <c:pt idx="2">
                  <c:v>100</c:v>
                </c:pt>
                <c:pt idx="3">
                  <c:v>100</c:v>
                </c:pt>
                <c:pt idx="4">
                  <c:v>100</c:v>
                </c:pt>
              </c:numCache>
            </c:numRef>
          </c:val>
          <c:extLst>
            <c:ext xmlns:c16="http://schemas.microsoft.com/office/drawing/2014/chart" uri="{C3380CC4-5D6E-409C-BE32-E72D297353CC}">
              <c16:uniqueId val="{00000004-BC8E-461E-92EB-8F04B72AF730}"/>
            </c:ext>
          </c:extLst>
        </c:ser>
        <c:dLbls>
          <c:showLegendKey val="0"/>
          <c:showVal val="0"/>
          <c:showCatName val="0"/>
          <c:showSerName val="0"/>
          <c:showPercent val="0"/>
          <c:showBubbleSize val="0"/>
        </c:dLbls>
        <c:gapWidth val="20"/>
        <c:overlap val="100"/>
        <c:axId val="2012273136"/>
        <c:axId val="1"/>
      </c:barChart>
      <c:catAx>
        <c:axId val="20122731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0" sourceLinked="1"/>
        <c:majorTickMark val="out"/>
        <c:minorTickMark val="none"/>
        <c:tickLblPos val="nextTo"/>
        <c:crossAx val="2012273136"/>
        <c:crosses val="min"/>
        <c:crossBetween val="between"/>
      </c:valAx>
    </c:plotArea>
    <c:plotVisOnly val="0"/>
    <c:dispBlanksAs val="gap"/>
    <c:showDLblsOverMax val="1"/>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B$2:$B$9</c:f>
              <c:numCache>
                <c:formatCode>0</c:formatCode>
                <c:ptCount val="7"/>
                <c:pt idx="0">
                  <c:v>63</c:v>
                </c:pt>
                <c:pt idx="1">
                  <c:v>73</c:v>
                </c:pt>
                <c:pt idx="2" formatCode="General">
                  <c:v>75</c:v>
                </c:pt>
                <c:pt idx="3" formatCode="General">
                  <c:v>41</c:v>
                </c:pt>
                <c:pt idx="4" formatCode="General">
                  <c:v>91</c:v>
                </c:pt>
                <c:pt idx="5" formatCode="General">
                  <c:v>69</c:v>
                </c:pt>
                <c:pt idx="6" formatCode="General">
                  <c:v>78</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7"/>
                <c:pt idx="0">
                  <c:v>Integrated HTM</c:v>
                </c:pt>
                <c:pt idx="1">
                  <c:v>Provider availability</c:v>
                </c:pt>
                <c:pt idx="2">
                  <c:v>Provider caseload</c:v>
                </c:pt>
                <c:pt idx="3">
                  <c:v>ANC score</c:v>
                </c:pt>
                <c:pt idx="4">
                  <c:v>DPT score</c:v>
                </c:pt>
                <c:pt idx="5">
                  <c:v>TB treatment</c:v>
                </c:pt>
                <c:pt idx="6">
                  <c:v>ART retention</c:v>
                </c:pt>
              </c:strCache>
            </c:strRef>
          </c:cat>
          <c:val>
            <c:numRef>
              <c:f>Sheet1!$C$2:$C$9</c:f>
              <c:numCache>
                <c:formatCode>0</c:formatCode>
                <c:ptCount val="7"/>
                <c:pt idx="0">
                  <c:v>38</c:v>
                </c:pt>
                <c:pt idx="1">
                  <c:v>21</c:v>
                </c:pt>
                <c:pt idx="2" formatCode="General">
                  <c:v>40</c:v>
                </c:pt>
                <c:pt idx="3" formatCode="General">
                  <c:v>48</c:v>
                </c:pt>
                <c:pt idx="4" formatCode="General">
                  <c:v>9</c:v>
                </c:pt>
                <c:pt idx="5" formatCode="General">
                  <c:v>32</c:v>
                </c:pt>
                <c:pt idx="6" formatCode="General">
                  <c:v>17</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10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7029117069762333E-2"/>
          <c:w val="1"/>
          <c:h val="0.5012721787812755"/>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5768197995467452"/>
                      <c:h val="0.3235060059013839"/>
                    </c:manualLayout>
                  </c15:layout>
                </c:ext>
                <c:ext xmlns:c16="http://schemas.microsoft.com/office/drawing/2014/chart" uri="{C3380CC4-5D6E-409C-BE32-E72D297353CC}">
                  <c16:uniqueId val="{00000000-67AC-4B1F-9AEA-37D3D05C5BC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1</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solidFill>
              <a:round/>
            </a:ln>
            <a:effectLst/>
          </c:spPr>
        </c:majorGridlines>
        <c:numFmt formatCode="0%" sourceLinked="1"/>
        <c:majorTickMark val="none"/>
        <c:minorTickMark val="none"/>
        <c:tickLblPos val="nextTo"/>
        <c:crossAx val="287763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507189653705437"/>
          <c:w val="1"/>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2380661687254623"/>
                      <c:h val="0.42645881515744521"/>
                    </c:manualLayout>
                  </c15:layout>
                </c:ext>
                <c:ext xmlns:c16="http://schemas.microsoft.com/office/drawing/2014/chart" uri="{C3380CC4-5D6E-409C-BE32-E72D297353CC}">
                  <c16:uniqueId val="{00000000-8C60-475B-B959-5D251697043B}"/>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1</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39876791471156E-2"/>
          <c:y val="0.13507189653705437"/>
          <c:w val="0.92399214785023465"/>
          <c:h val="0.72985620692589126"/>
        </c:manualLayout>
      </c:layout>
      <c:barChart>
        <c:barDir val="col"/>
        <c:grouping val="percentStacked"/>
        <c:varyColors val="0"/>
        <c:ser>
          <c:idx val="0"/>
          <c:order val="0"/>
          <c:tx>
            <c:strRef>
              <c:f>Sheet1!$B$1</c:f>
              <c:strCache>
                <c:ptCount val="1"/>
                <c:pt idx="0">
                  <c:v>Series 1</c:v>
                </c:pt>
              </c:strCache>
            </c:strRef>
          </c:tx>
          <c:spPr>
            <a:solidFill>
              <a:srgbClr val="2E4DF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2246281400619237"/>
                      <c:h val="0.42645881515744521"/>
                    </c:manualLayout>
                  </c15:layout>
                </c:ext>
                <c:ext xmlns:c16="http://schemas.microsoft.com/office/drawing/2014/chart" uri="{C3380CC4-5D6E-409C-BE32-E72D297353CC}">
                  <c16:uniqueId val="{00000000-9C4C-4C40-96AD-A63EB8B2FEE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Facility
score</c:v>
                </c:pt>
              </c:strCache>
            </c:strRef>
          </c:cat>
          <c:val>
            <c:numRef>
              <c:f>Sheet1!$B$2:$B$9</c:f>
              <c:numCache>
                <c:formatCode>0</c:formatCode>
                <c:ptCount val="1"/>
                <c:pt idx="0">
                  <c:v>70</c:v>
                </c:pt>
              </c:numCache>
            </c:numRef>
          </c:val>
          <c:extLst>
            <c:ext xmlns:c16="http://schemas.microsoft.com/office/drawing/2014/chart" uri="{C3380CC4-5D6E-409C-BE32-E72D297353CC}">
              <c16:uniqueId val="{00000000-3A27-422E-BC8C-71696D431EAE}"/>
            </c:ext>
          </c:extLst>
        </c:ser>
        <c:ser>
          <c:idx val="1"/>
          <c:order val="1"/>
          <c:tx>
            <c:strRef>
              <c:f>Sheet1!$C$1</c:f>
              <c:strCache>
                <c:ptCount val="1"/>
                <c:pt idx="0">
                  <c:v>Series 2</c:v>
                </c:pt>
              </c:strCache>
            </c:strRef>
          </c:tx>
          <c:spPr>
            <a:solidFill>
              <a:srgbClr val="B3092E"/>
            </a:solidFill>
            <a:ln>
              <a:noFill/>
            </a:ln>
            <a:effectLst/>
          </c:spPr>
          <c:invertIfNegative val="0"/>
          <c:dLbls>
            <c:delete val="1"/>
          </c:dLbls>
          <c:cat>
            <c:strRef>
              <c:f>Sheet1!$A$2:$A$9</c:f>
              <c:strCache>
                <c:ptCount val="1"/>
                <c:pt idx="0">
                  <c:v>Facility
score</c:v>
                </c:pt>
              </c:strCache>
            </c:strRef>
          </c:cat>
          <c:val>
            <c:numRef>
              <c:f>Sheet1!$C$2:$C$9</c:f>
              <c:numCache>
                <c:formatCode>0</c:formatCode>
                <c:ptCount val="1"/>
                <c:pt idx="0">
                  <c:v>29</c:v>
                </c:pt>
              </c:numCache>
            </c:numRef>
          </c:val>
          <c:extLst>
            <c:ext xmlns:c16="http://schemas.microsoft.com/office/drawing/2014/chart" uri="{C3380CC4-5D6E-409C-BE32-E72D297353CC}">
              <c16:uniqueId val="{00000001-3A27-422E-BC8C-71696D431EAE}"/>
            </c:ext>
          </c:extLst>
        </c:ser>
        <c:dLbls>
          <c:dLblPos val="ctr"/>
          <c:showLegendKey val="0"/>
          <c:showVal val="1"/>
          <c:showCatName val="0"/>
          <c:showSerName val="0"/>
          <c:showPercent val="0"/>
          <c:showBubbleSize val="0"/>
        </c:dLbls>
        <c:gapWidth val="50"/>
        <c:overlap val="100"/>
        <c:axId val="287763360"/>
        <c:axId val="287765440"/>
      </c:barChart>
      <c:catAx>
        <c:axId val="287763360"/>
        <c:scaling>
          <c:orientation val="minMax"/>
        </c:scaling>
        <c:delete val="1"/>
        <c:axPos val="b"/>
        <c:numFmt formatCode="General" sourceLinked="1"/>
        <c:majorTickMark val="none"/>
        <c:minorTickMark val="none"/>
        <c:tickLblPos val="nextTo"/>
        <c:crossAx val="287765440"/>
        <c:crosses val="autoZero"/>
        <c:auto val="1"/>
        <c:lblAlgn val="ctr"/>
        <c:lblOffset val="100"/>
        <c:noMultiLvlLbl val="0"/>
      </c:catAx>
      <c:valAx>
        <c:axId val="287765440"/>
        <c:scaling>
          <c:orientation val="minMax"/>
        </c:scaling>
        <c:delete val="1"/>
        <c:axPos val="l"/>
        <c:majorGridlines>
          <c:spPr>
            <a:ln w="9525" cap="flat" cmpd="sng" algn="ctr">
              <a:solidFill>
                <a:schemeClr val="bg2">
                  <a:alpha val="97000"/>
                </a:schemeClr>
              </a:solidFill>
              <a:round/>
            </a:ln>
            <a:effectLst/>
          </c:spPr>
        </c:majorGridlines>
        <c:numFmt formatCode="0%" sourceLinked="1"/>
        <c:majorTickMark val="out"/>
        <c:minorTickMark val="none"/>
        <c:tickLblPos val="nextTo"/>
        <c:crossAx val="287763360"/>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latin typeface="Abadi" panose="020B0604020104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2-28B0-4600-88A6-0A4D2270C127}"/>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28B0-4600-88A6-0A4D2270C127}"/>
              </c:ext>
            </c:extLst>
          </c:dPt>
          <c:cat>
            <c:strRef>
              <c:f>Sheet1!$A$2:$A$3</c:f>
              <c:strCache>
                <c:ptCount val="2"/>
                <c:pt idx="0">
                  <c:v>Score</c:v>
                </c:pt>
                <c:pt idx="1">
                  <c:v>Rest</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28B0-4600-88A6-0A4D2270C127}"/>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38472091559017"/>
          <c:y val="0"/>
          <c:w val="0.55761527908440978"/>
          <c:h val="0.99586866546477826"/>
        </c:manualLayout>
      </c:layout>
      <c:barChart>
        <c:barDir val="bar"/>
        <c:grouping val="percentStacked"/>
        <c:varyColors val="0"/>
        <c:ser>
          <c:idx val="0"/>
          <c:order val="0"/>
          <c:tx>
            <c:strRef>
              <c:f>Sheet1!$B$1</c:f>
              <c:strCache>
                <c:ptCount val="1"/>
                <c:pt idx="0">
                  <c:v>Score</c:v>
                </c:pt>
              </c:strCache>
            </c:strRef>
          </c:tx>
          <c:spPr>
            <a:solidFill>
              <a:srgbClr val="2E4DF9"/>
            </a:solidFill>
            <a:ln>
              <a:noFill/>
            </a:ln>
            <a:effectLst/>
          </c:spPr>
          <c:invertIfNegative val="0"/>
          <c:dLbls>
            <c:dLbl>
              <c:idx val="1"/>
              <c:tx>
                <c:rich>
                  <a:bodyPr/>
                  <a:lstStyle/>
                  <a:p>
                    <a:fld id="{7D5BAE6E-5020-4E17-8631-F4F1B1F2ECF8}" type="VALUE">
                      <a:rPr lang="en-US">
                        <a:solidFill>
                          <a:schemeClr val="bg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307-43B7-A369-E3FA4A7DD867}"/>
                </c:ext>
              </c:extLst>
            </c:dLbl>
            <c:numFmt formatCode="#,##0" sourceLinked="0"/>
            <c:spPr>
              <a:solidFill>
                <a:srgbClr val="2E4DF9"/>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2-month ART retention</c:v>
                </c:pt>
                <c:pt idx="1">
                  <c:v>TB treatment completion</c:v>
                </c:pt>
                <c:pt idx="2">
                  <c:v>DPT dropout score</c:v>
                </c:pt>
                <c:pt idx="3">
                  <c:v>ANC dropout score</c:v>
                </c:pt>
                <c:pt idx="4">
                  <c:v>Provider caseload</c:v>
                </c:pt>
                <c:pt idx="5">
                  <c:v>Provider availability</c:v>
                </c:pt>
                <c:pt idx="6">
                  <c:v>Integrated HTM w/ ANC</c:v>
                </c:pt>
              </c:strCache>
            </c:strRef>
          </c:cat>
          <c:val>
            <c:numRef>
              <c:f>Sheet1!$B$2:$B$8</c:f>
              <c:numCache>
                <c:formatCode>General</c:formatCode>
                <c:ptCount val="7"/>
                <c:pt idx="0">
                  <c:v>80</c:v>
                </c:pt>
                <c:pt idx="1">
                  <c:v>69</c:v>
                </c:pt>
                <c:pt idx="2">
                  <c:v>91</c:v>
                </c:pt>
                <c:pt idx="3">
                  <c:v>47</c:v>
                </c:pt>
                <c:pt idx="4">
                  <c:v>68</c:v>
                </c:pt>
                <c:pt idx="5">
                  <c:v>76</c:v>
                </c:pt>
                <c:pt idx="6">
                  <c:v>63</c:v>
                </c:pt>
              </c:numCache>
            </c:numRef>
          </c:val>
          <c:extLst>
            <c:ext xmlns:c16="http://schemas.microsoft.com/office/drawing/2014/chart" uri="{C3380CC4-5D6E-409C-BE32-E72D297353CC}">
              <c16:uniqueId val="{00000001-7307-43B7-A369-E3FA4A7DD867}"/>
            </c:ext>
          </c:extLst>
        </c:ser>
        <c:ser>
          <c:idx val="1"/>
          <c:order val="1"/>
          <c:tx>
            <c:strRef>
              <c:f>Sheet1!$C$1</c:f>
              <c:strCache>
                <c:ptCount val="1"/>
                <c:pt idx="0">
                  <c:v>Rest</c:v>
                </c:pt>
              </c:strCache>
            </c:strRef>
          </c:tx>
          <c:spPr>
            <a:solidFill>
              <a:srgbClr val="C00000"/>
            </a:solidFill>
            <a:ln>
              <a:noFill/>
            </a:ln>
            <a:effectLst/>
          </c:spPr>
          <c:invertIfNegative val="0"/>
          <c:cat>
            <c:strRef>
              <c:f>Sheet1!$A$2:$A$8</c:f>
              <c:strCache>
                <c:ptCount val="7"/>
                <c:pt idx="0">
                  <c:v>12-month ART retention</c:v>
                </c:pt>
                <c:pt idx="1">
                  <c:v>TB treatment completion</c:v>
                </c:pt>
                <c:pt idx="2">
                  <c:v>DPT dropout score</c:v>
                </c:pt>
                <c:pt idx="3">
                  <c:v>ANC dropout score</c:v>
                </c:pt>
                <c:pt idx="4">
                  <c:v>Provider caseload</c:v>
                </c:pt>
                <c:pt idx="5">
                  <c:v>Provider availability</c:v>
                </c:pt>
                <c:pt idx="6">
                  <c:v>Integrated HTM w/ ANC</c:v>
                </c:pt>
              </c:strCache>
            </c:strRef>
          </c:cat>
          <c:val>
            <c:numRef>
              <c:f>Sheet1!$C$2:$C$8</c:f>
              <c:numCache>
                <c:formatCode>General</c:formatCode>
                <c:ptCount val="7"/>
                <c:pt idx="0">
                  <c:v>20</c:v>
                </c:pt>
                <c:pt idx="1">
                  <c:v>31</c:v>
                </c:pt>
                <c:pt idx="2">
                  <c:v>9</c:v>
                </c:pt>
                <c:pt idx="3">
                  <c:v>53</c:v>
                </c:pt>
                <c:pt idx="4">
                  <c:v>32</c:v>
                </c:pt>
                <c:pt idx="5">
                  <c:v>24</c:v>
                </c:pt>
                <c:pt idx="6">
                  <c:v>37</c:v>
                </c:pt>
              </c:numCache>
            </c:numRef>
          </c:val>
          <c:extLst>
            <c:ext xmlns:c16="http://schemas.microsoft.com/office/drawing/2014/chart" uri="{C3380CC4-5D6E-409C-BE32-E72D297353CC}">
              <c16:uniqueId val="{00000002-7307-43B7-A369-E3FA4A7DD867}"/>
            </c:ext>
          </c:extLst>
        </c:ser>
        <c:dLbls>
          <c:showLegendKey val="0"/>
          <c:showVal val="0"/>
          <c:showCatName val="0"/>
          <c:showSerName val="0"/>
          <c:showPercent val="0"/>
          <c:showBubbleSize val="0"/>
        </c:dLbls>
        <c:gapWidth val="23"/>
        <c:overlap val="100"/>
        <c:axId val="4968479"/>
        <c:axId val="4954335"/>
      </c:barChart>
      <c:catAx>
        <c:axId val="496847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54335"/>
        <c:crosses val="autoZero"/>
        <c:auto val="1"/>
        <c:lblAlgn val="ctr"/>
        <c:lblOffset val="100"/>
        <c:noMultiLvlLbl val="0"/>
      </c:catAx>
      <c:valAx>
        <c:axId val="4954335"/>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68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58.48</c:v>
                </c:pt>
                <c:pt idx="1">
                  <c:v>41.52</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87.43</c:v>
                </c:pt>
                <c:pt idx="1">
                  <c:v>12.56999999999999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cor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88-4400-8528-297FD05BF1E8}"/>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D888-4400-8528-297FD05BF1E8}"/>
              </c:ext>
            </c:extLst>
          </c:dPt>
          <c:cat>
            <c:strRef>
              <c:f>Sheet1!$A$2:$A$3</c:f>
              <c:strCache>
                <c:ptCount val="2"/>
                <c:pt idx="0">
                  <c:v>Score</c:v>
                </c:pt>
                <c:pt idx="1">
                  <c:v>Rest</c:v>
                </c:pt>
              </c:strCache>
            </c:strRef>
          </c:cat>
          <c:val>
            <c:numRef>
              <c:f>Sheet1!$B$2:$B$3</c:f>
              <c:numCache>
                <c:formatCode>General</c:formatCode>
                <c:ptCount val="2"/>
                <c:pt idx="0">
                  <c:v>62.8</c:v>
                </c:pt>
                <c:pt idx="1">
                  <c:v>37.200000000000003</c:v>
                </c:pt>
              </c:numCache>
            </c:numRef>
          </c:val>
          <c:extLst>
            <c:ext xmlns:c16="http://schemas.microsoft.com/office/drawing/2014/chart" uri="{C3380CC4-5D6E-409C-BE32-E72D297353CC}">
              <c16:uniqueId val="{00000004-D888-4400-8528-297FD05BF1E8}"/>
            </c:ext>
          </c:extLst>
        </c:ser>
        <c:dLbls>
          <c:showLegendKey val="0"/>
          <c:showVal val="0"/>
          <c:showCatName val="0"/>
          <c:showSerName val="0"/>
          <c:showPercent val="0"/>
          <c:showBubbleSize val="0"/>
          <c:showLeaderLines val="1"/>
        </c:dLbls>
        <c:firstSliceAng val="0"/>
        <c:holeSize val="4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_-* #,##0.00_-;\-* #,##0.00_-;_-* &quot;-&quot;??_-;_-@_-">
          <cx:pt idx="0">56.6456228956228</cx:pt>
          <cx:pt idx="1">44.126262626262601</cx:pt>
          <cx:pt idx="2">85</cx:pt>
          <cx:pt idx="3">59.8333333333333</cx:pt>
          <cx:pt idx="4">46.818181818181799</cx:pt>
          <cx:pt idx="5">60.440476190476097</cx:pt>
          <cx:pt idx="6">44.570707070707002</cx:pt>
          <cx:pt idx="7">79.1666666666666</cx:pt>
          <cx:pt idx="8">52.420634920634903</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numFmt formatCode="General" sourceLinked="0"/>
      </cx:axis>
    </cx:plotArea>
  </cx:chart>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47.337278106508798</cx:pt>
          <cx:pt idx="1">41.353383458646597</cx:pt>
          <cx:pt idx="2">17.857142857142801</cx:pt>
          <cx:pt idx="4">0</cx:pt>
          <cx:pt idx="5">33.673469387755098</cx:pt>
          <cx:pt idx="8">5.6603773584905603</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55.5555555555555</cx:pt>
          <cx:pt idx="1">42.307692307692299</cx:pt>
          <cx:pt idx="2">37.037037037037003</cx:pt>
          <cx:pt idx="3">62.962962962962898</cx:pt>
          <cx:pt idx="5">44.4444444444444</cx:pt>
          <cx:pt idx="6">23.076923076922998</cx:pt>
          <cx:pt idx="7">40.740740740740698</cx:pt>
          <cx:pt idx="8">29.629629629629601</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_-* #,##0.00_-;\-* #,##0.00_-;_-* &quot;-&quot;??_-;_-@_-">
          <cx:pt idx="0">100</cx:pt>
          <cx:pt idx="1">66.6666666666666</cx:pt>
          <cx:pt idx="2">100</cx:pt>
          <cx:pt idx="3">100</cx:pt>
          <cx:pt idx="4">100</cx:pt>
          <cx:pt idx="5">100</cx:pt>
          <cx:pt idx="6">100</cx:pt>
          <cx:pt idx="7">75</cx:pt>
          <cx:pt idx="8">75</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numFmt formatCode="General" sourceLinked="0"/>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9</cx:f>
        <cx:lvl ptCount="8" formatCode="General">
          <cx:pt idx="0">50</cx:pt>
          <cx:pt idx="1">63.3333333333333</cx:pt>
          <cx:pt idx="2">60</cx:pt>
          <cx:pt idx="3">66.6666666666666</cx:pt>
          <cx:pt idx="4">66.6666666666666</cx:pt>
          <cx:pt idx="5">60</cx:pt>
          <cx:pt idx="6">46.6666666666666</cx:pt>
          <cx:pt idx="7">66.6666666666666</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43.75</cx:pt>
          <cx:pt idx="1">95</cx:pt>
          <cx:pt idx="2">75</cx:pt>
          <cx:pt idx="3">90</cx:pt>
          <cx:pt idx="4">65</cx:pt>
          <cx:pt idx="5">70</cx:pt>
          <cx:pt idx="6">25</cx:pt>
          <cx:pt idx="7">50</cx:pt>
          <cx:pt idx="8">45</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68.3333333333333</cx:pt>
          <cx:pt idx="1">52.082703315439801</cx:pt>
          <cx:pt idx="2">73.75</cx:pt>
          <cx:pt idx="3">90</cx:pt>
          <cx:pt idx="4">62.571607590404497</cx:pt>
          <cx:pt idx="5">56.6666666666666</cx:pt>
          <cx:pt idx="6">65.445205479452</cx:pt>
          <cx:pt idx="7">56.033333333333303</cx:pt>
          <cx:pt idx="8">78.699633699633694</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25</cx:pt>
          <cx:pt idx="1">80</cx:pt>
          <cx:pt idx="2">100</cx:pt>
          <cx:pt idx="3">100</cx:pt>
          <cx:pt idx="4">80</cx:pt>
          <cx:pt idx="5">100</cx:pt>
          <cx:pt idx="6">0</cx:pt>
          <cx:pt idx="7">33.3333333333333</cx:pt>
          <cx:pt idx="8">2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100</cx:pt>
          <cx:pt idx="1">66.6666666666666</cx:pt>
          <cx:pt idx="2">100</cx:pt>
          <cx:pt idx="3">83.3333333333333</cx:pt>
          <cx:pt idx="4">100</cx:pt>
          <cx:pt idx="5">50</cx:pt>
          <cx:pt idx="6">50</cx:pt>
          <cx:pt idx="7">100</cx:pt>
          <cx:pt idx="8">5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85.714285714285694</cx:pt>
          <cx:pt idx="1">100</cx:pt>
          <cx:pt idx="2">100</cx:pt>
          <cx:pt idx="3">100</cx:pt>
          <cx:pt idx="4">42.857142857142797</cx:pt>
          <cx:pt idx="5">100</cx:pt>
          <cx:pt idx="6">71.428571428571402</cx:pt>
          <cx:pt idx="7">57.142857142857103</cx:pt>
          <cx:pt idx="8">10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0</cx:f>
        <cx:lvl ptCount="9">
          <cx:pt idx="0">Category 1</cx:pt>
          <cx:pt idx="1">Category 1</cx:pt>
          <cx:pt idx="2">Category 1</cx:pt>
          <cx:pt idx="3">Category 1</cx:pt>
          <cx:pt idx="4">Category 1</cx:pt>
          <cx:pt idx="5">Category 1</cx:pt>
          <cx:pt idx="6">Category 1</cx:pt>
          <cx:pt idx="7">Category 1</cx:pt>
          <cx:pt idx="8">Category 1</cx:pt>
        </cx:lvl>
      </cx:strDim>
      <cx:numDim type="val">
        <cx:f>Sheet1!$B$2:$B$10</cx:f>
        <cx:lvl ptCount="9" formatCode="General">
          <cx:pt idx="0">50</cx:pt>
          <cx:pt idx="1">100</cx:pt>
          <cx:pt idx="2">50</cx:pt>
          <cx:pt idx="3">100</cx:pt>
          <cx:pt idx="5">50</cx:pt>
          <cx:pt idx="8">0</cx:pt>
        </cx:lvl>
      </cx:numDim>
    </cx:data>
  </cx:chartData>
  <cx:chart>
    <cx:plotArea>
      <cx:plotAreaRegion>
        <cx:series layoutId="boxWhisker" uniqueId="{A95EE8EF-4AC9-4746-B9A6-34B64BF57149}">
          <cx:tx>
            <cx:txData>
              <cx:f>Sheet1!$B$1</cx:f>
              <cx:v>Series1</cx:v>
            </cx:txData>
          </cx:tx>
          <cx:spPr>
            <a:solidFill>
              <a:srgbClr val="2E4DF9"/>
            </a:solidFill>
          </cx:spPr>
          <cx:dataId val="0"/>
          <cx:layoutPr>
            <cx:visibility meanLine="0" meanMarker="1" nonoutliers="0"/>
            <cx:statistics quartileMethod="exclusive"/>
          </cx:layoutPr>
        </cx:series>
      </cx:plotAreaRegion>
      <cx:axis id="0" hidden="1">
        <cx:catScaling gapWidth="1"/>
        <cx:tickLabels/>
      </cx:axis>
      <cx:axis id="1">
        <cx:valScaling max="100"/>
        <cx:majorGridlines>
          <cx:spPr>
            <a:ln>
              <a:solidFill>
                <a:schemeClr val="bg1"/>
              </a:solidFill>
            </a:ln>
          </cx:spPr>
        </cx:majorGridlines>
        <cx:majorTickMarks type="cros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FC6_3FA750C2.xml><?xml version="1.0" encoding="utf-8"?>
<p188:cmLst xmlns:a="http://schemas.openxmlformats.org/drawingml/2006/main" xmlns:r="http://schemas.openxmlformats.org/officeDocument/2006/relationships" xmlns:p188="http://schemas.microsoft.com/office/powerpoint/2018/8/main">
  <p188:cm id="{DA8EC01E-55A3-1A43-832D-7B7E4BA8C3B4}" authorId="{E01CE288-2F60-77A5-EB16-5B732CDE4BD5}" created="2024-04-09T10:54:54.064">
    <pc:sldMkLst xmlns:pc="http://schemas.microsoft.com/office/powerpoint/2013/main/command">
      <pc:docMk/>
      <pc:sldMk cId="1067929794" sldId="2147471302"/>
    </pc:sldMkLst>
    <p188:txBody>
      <a:bodyPr/>
      <a:lstStyle/>
      <a:p>
        <a:r>
          <a:rPr lang="en-US"/>
          <a:t>Update the objectives to highlight tHFA as well</a:t>
        </a:r>
      </a:p>
    </p188:txBody>
  </p188:cm>
</p188:cmLst>
</file>

<file path=ppt/drawings/drawing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0.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1.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4.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5.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6.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7.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8.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379128" y="511565"/>
          <a:ext cx="2736330" cy="1826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19.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379128" y="511565"/>
          <a:ext cx="2736330" cy="1826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0.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26693" y="256065"/>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10849</cdr:x>
      <cdr:y>0.1795</cdr:y>
    </cdr:from>
    <cdr:to>
      <cdr:x>0.89151</cdr:x>
      <cdr:y>0.8205</cdr:y>
    </cdr:to>
    <cdr:sp macro="" textlink="">
      <cdr:nvSpPr>
        <cdr:cNvPr id="2" name="TextBox 1">
          <a:extLst xmlns:a="http://schemas.openxmlformats.org/drawingml/2006/main">
            <a:ext uri="{FF2B5EF4-FFF2-40B4-BE49-F238E27FC236}">
              <a16:creationId xmlns:a16="http://schemas.microsoft.com/office/drawing/2014/main" id="{17230CC8-7210-4BDC-9832-59D37FCE8938}"/>
            </a:ext>
          </a:extLst>
        </cdr:cNvPr>
        <cdr:cNvSpPr txBox="1"/>
      </cdr:nvSpPr>
      <cdr:spPr>
        <a:xfrm xmlns:a="http://schemas.openxmlformats.org/drawingml/2006/main">
          <a:off x="147086" y="248161"/>
          <a:ext cx="1061586" cy="8861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D5D090-1BEF-4E2F-A18B-C30A1F5A846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1844FA7-60E7-427F-A6D8-F2FC6AA37C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2EF2CF-D602-4836-B70B-A3AA896C4470}" type="datetimeFigureOut">
              <a:rPr lang="en-US" smtClean="0"/>
              <a:t>8/3/2024</a:t>
            </a:fld>
            <a:endParaRPr lang="en-US"/>
          </a:p>
        </p:txBody>
      </p:sp>
      <p:sp>
        <p:nvSpPr>
          <p:cNvPr id="4" name="Footer Placeholder 3">
            <a:extLst>
              <a:ext uri="{FF2B5EF4-FFF2-40B4-BE49-F238E27FC236}">
                <a16:creationId xmlns:a16="http://schemas.microsoft.com/office/drawing/2014/main" id="{D6E8F7B1-3F04-4492-8C7B-BFB0BBFC8F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DEC4A78-4055-41F6-9F1B-0EE8705E71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890D88-BA10-4C69-A18C-49C9F660E359}" type="slidenum">
              <a:rPr lang="en-US" smtClean="0"/>
              <a:t>‹#›</a:t>
            </a:fld>
            <a:endParaRPr lang="en-US"/>
          </a:p>
        </p:txBody>
      </p:sp>
    </p:spTree>
    <p:extLst>
      <p:ext uri="{BB962C8B-B14F-4D97-AF65-F5344CB8AC3E}">
        <p14:creationId xmlns:p14="http://schemas.microsoft.com/office/powerpoint/2010/main" val="16920750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02/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686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C1AC9D4-BBAD-42EB-A758-69AF0AB31F18}" type="slidenum">
              <a:rPr lang="en-US" smtClean="0"/>
              <a:pPr>
                <a:defRPr/>
              </a:pPr>
              <a:t>23</a:t>
            </a:fld>
            <a:endParaRPr lang="en-US"/>
          </a:p>
        </p:txBody>
      </p:sp>
    </p:spTree>
    <p:extLst>
      <p:ext uri="{BB962C8B-B14F-4D97-AF65-F5344CB8AC3E}">
        <p14:creationId xmlns:p14="http://schemas.microsoft.com/office/powerpoint/2010/main" val="3478501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3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468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384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545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1192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2</a:t>
            </a:fld>
            <a:endParaRPr lang="en-GB"/>
          </a:p>
        </p:txBody>
      </p:sp>
    </p:spTree>
    <p:extLst>
      <p:ext uri="{BB962C8B-B14F-4D97-AF65-F5344CB8AC3E}">
        <p14:creationId xmlns:p14="http://schemas.microsoft.com/office/powerpoint/2010/main" val="228319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Arial" panose="020B0604020202020204" pitchFamily="34" charset="0"/>
              <a:buChar char="•"/>
            </a:pPr>
            <a:endParaRPr lang="en-US" sz="1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43DA14-6B59-4390-BEC4-B63965FECE9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462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2469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sv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30.svg"/></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5.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6.xml"/></Relationships>
</file>

<file path=ppt/slideLayouts/_rels/slideLayout119.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28.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21.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29.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3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3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33.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156.xml"/><Relationship Id="rId7" Type="http://schemas.openxmlformats.org/officeDocument/2006/relationships/oleObject" Target="../embeddings/oleObject5.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Master" Target="../slideMasters/slideMaster4.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6.png"/></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36.emf"/><Relationship Id="rId4" Type="http://schemas.openxmlformats.org/officeDocument/2006/relationships/tags" Target="../tags/tag162.xml"/><Relationship Id="rId9" Type="http://schemas.openxmlformats.org/officeDocument/2006/relationships/oleObject" Target="../embeddings/oleObject6.bin"/></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68.xml"/><Relationship Id="rId7"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 Id="rId9" Type="http://schemas.openxmlformats.org/officeDocument/2006/relationships/image" Target="../media/image37.emf"/></Relationships>
</file>

<file path=ppt/slideLayouts/_rels/slideLayout12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74.xml"/><Relationship Id="rId7"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 Id="rId9" Type="http://schemas.openxmlformats.org/officeDocument/2006/relationships/image" Target="../media/image37.emf"/></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0.xml"/><Relationship Id="rId7" Type="http://schemas.openxmlformats.org/officeDocument/2006/relationships/image" Target="../media/image37.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9.bin"/><Relationship Id="rId5" Type="http://schemas.openxmlformats.org/officeDocument/2006/relationships/slideMaster" Target="../slideMasters/slideMaster4.xml"/><Relationship Id="rId10" Type="http://schemas.openxmlformats.org/officeDocument/2006/relationships/image" Target="../media/image2.png"/><Relationship Id="rId4" Type="http://schemas.openxmlformats.org/officeDocument/2006/relationships/tags" Target="../tags/tag181.xml"/><Relationship Id="rId9" Type="http://schemas.openxmlformats.org/officeDocument/2006/relationships/image" Target="../media/image31.svg"/></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37.emf"/><Relationship Id="rId4" Type="http://schemas.openxmlformats.org/officeDocument/2006/relationships/tags" Target="../tags/tag185.xml"/><Relationship Id="rId9" Type="http://schemas.openxmlformats.org/officeDocument/2006/relationships/oleObject" Target="../embeddings/oleObject10.bin"/></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2.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36.emf"/><Relationship Id="rId5" Type="http://schemas.openxmlformats.org/officeDocument/2006/relationships/tags" Target="../tags/tag193.xml"/><Relationship Id="rId10" Type="http://schemas.openxmlformats.org/officeDocument/2006/relationships/oleObject" Target="../embeddings/oleObject11.bin"/><Relationship Id="rId4" Type="http://schemas.openxmlformats.org/officeDocument/2006/relationships/tags" Target="../tags/tag192.xml"/><Relationship Id="rId9"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image" Target="../media/image36.emf"/><Relationship Id="rId5" Type="http://schemas.openxmlformats.org/officeDocument/2006/relationships/tags" Target="../tags/tag201.xml"/><Relationship Id="rId10" Type="http://schemas.openxmlformats.org/officeDocument/2006/relationships/oleObject" Target="../embeddings/oleObject12.bin"/><Relationship Id="rId4" Type="http://schemas.openxmlformats.org/officeDocument/2006/relationships/tags" Target="../tags/tag200.xml"/><Relationship Id="rId9"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2.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36.emf"/><Relationship Id="rId5" Type="http://schemas.openxmlformats.org/officeDocument/2006/relationships/tags" Target="../tags/tag209.xml"/><Relationship Id="rId10" Type="http://schemas.openxmlformats.org/officeDocument/2006/relationships/oleObject" Target="../embeddings/oleObject13.bin"/><Relationship Id="rId4" Type="http://schemas.openxmlformats.org/officeDocument/2006/relationships/tags" Target="../tags/tag208.xml"/><Relationship Id="rId9"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2.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38.emf"/><Relationship Id="rId5" Type="http://schemas.openxmlformats.org/officeDocument/2006/relationships/tags" Target="../tags/tag217.xml"/><Relationship Id="rId10" Type="http://schemas.openxmlformats.org/officeDocument/2006/relationships/oleObject" Target="../embeddings/oleObject14.bin"/><Relationship Id="rId4" Type="http://schemas.openxmlformats.org/officeDocument/2006/relationships/tags" Target="../tags/tag216.xml"/><Relationship Id="rId9"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2.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36.emf"/><Relationship Id="rId5" Type="http://schemas.openxmlformats.org/officeDocument/2006/relationships/tags" Target="../tags/tag225.xml"/><Relationship Id="rId10" Type="http://schemas.openxmlformats.org/officeDocument/2006/relationships/oleObject" Target="../embeddings/oleObject15.bin"/><Relationship Id="rId4" Type="http://schemas.openxmlformats.org/officeDocument/2006/relationships/tags" Target="../tags/tag224.xml"/><Relationship Id="rId9"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231.xml"/><Relationship Id="rId7" Type="http://schemas.openxmlformats.org/officeDocument/2006/relationships/slideMaster" Target="../slideMasters/slideMaster4.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image" Target="../media/image2.png"/><Relationship Id="rId4" Type="http://schemas.openxmlformats.org/officeDocument/2006/relationships/tags" Target="../tags/tag232.xml"/><Relationship Id="rId9" Type="http://schemas.openxmlformats.org/officeDocument/2006/relationships/image" Target="../media/image37.emf"/></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7.xml"/><Relationship Id="rId7" Type="http://schemas.openxmlformats.org/officeDocument/2006/relationships/image" Target="../media/image37.emf"/><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oleObject" Target="../embeddings/oleObject17.bin"/><Relationship Id="rId5" Type="http://schemas.openxmlformats.org/officeDocument/2006/relationships/slideMaster" Target="../slideMasters/slideMaster4.xml"/><Relationship Id="rId4" Type="http://schemas.openxmlformats.org/officeDocument/2006/relationships/tags" Target="../tags/tag238.xml"/></Relationships>
</file>

<file path=ppt/slideLayouts/_rels/slideLayout139.xml.rels><?xml version="1.0" encoding="UTF-8" standalone="yes"?>
<Relationships xmlns="http://schemas.openxmlformats.org/package/2006/relationships"><Relationship Id="rId8" Type="http://schemas.openxmlformats.org/officeDocument/2006/relationships/hyperlink" Target="https://www.theglobalfund.org/" TargetMode="External"/><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4.png"/><Relationship Id="rId5" Type="http://schemas.openxmlformats.org/officeDocument/2006/relationships/image" Target="../media/image37.emf"/><Relationship Id="rId4" Type="http://schemas.openxmlformats.org/officeDocument/2006/relationships/oleObject" Target="../embeddings/oleObject18.bin"/><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0.sv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5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54.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55.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256.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257.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259.xml"/><Relationship Id="rId4" Type="http://schemas.openxmlformats.org/officeDocument/2006/relationships/image" Target="../media/image29.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60.xml"/><Relationship Id="rId4" Type="http://schemas.openxmlformats.org/officeDocument/2006/relationships/image" Target="../media/image30.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261.xml"/><Relationship Id="rId4" Type="http://schemas.openxmlformats.org/officeDocument/2006/relationships/image" Target="../media/image31.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262.xml"/><Relationship Id="rId4" Type="http://schemas.openxmlformats.org/officeDocument/2006/relationships/image" Target="../media/image32.svg"/></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3.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4.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5.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6.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7.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9.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0.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1.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2.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3.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4.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6.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8.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9.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0.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1.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3.xml"/><Relationship Id="rId4" Type="http://schemas.openxmlformats.org/officeDocument/2006/relationships/image" Target="../media/image30.svg"/></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4.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5.xml"/></Relationships>
</file>

<file path=ppt/slideLayouts/_rels/slideLayout17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6.xml"/><Relationship Id="rId4" Type="http://schemas.openxmlformats.org/officeDocument/2006/relationships/image" Target="../media/image3.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8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88.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289.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5.xml"/><Relationship Id="rId1" Type="http://schemas.openxmlformats.org/officeDocument/2006/relationships/tags" Target="../tags/tag29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9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9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29.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0.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2.svg"/></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30.svg"/></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0.svg"/></Relationships>
</file>

<file path=ppt/slideLayouts/_rels/slideLayout79.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6.png"/><Relationship Id="rId5" Type="http://schemas.openxmlformats.org/officeDocument/2006/relationships/image" Target="../media/image33.svg"/><Relationship Id="rId4" Type="http://schemas.openxmlformats.org/officeDocument/2006/relationships/image" Target="../media/image2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4.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8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35.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6.png"/><Relationship Id="rId4" Type="http://schemas.openxmlformats.org/officeDocument/2006/relationships/image" Target="../media/image30.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6.png"/><Relationship Id="rId4" Type="http://schemas.openxmlformats.org/officeDocument/2006/relationships/image" Target="../media/image2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27.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13.png"/><Relationship Id="rId4" Type="http://schemas.openxmlformats.org/officeDocument/2006/relationships/image" Target="../media/image2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29.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30.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31.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32.svg"/></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8/2/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03714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6595460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0767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5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234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2784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8822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87780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631682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0693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6221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97478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8124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1510150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9425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362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96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0284448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812602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213977077"/>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8908607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756791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1264768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7268061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828494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1269343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image" descr="{&quot;templafy&quot;:{&quot;id&quot;:&quot;c9b75d39-677b-4aaa-9c07-c146c29c800b&quot;}}">
            <a:extLst>
              <a:ext uri="{FF2B5EF4-FFF2-40B4-BE49-F238E27FC236}">
                <a16:creationId xmlns:a16="http://schemas.microsoft.com/office/drawing/2014/main" id="{FA4679FD-5216-4BBB-B254-B4078B0A3E0E}"/>
              </a:ext>
            </a:extLst>
          </p:cNvPr>
          <p:cNvPicPr>
            <a:picLocks noChangeAspect="1"/>
          </p:cNvPicPr>
          <p:nvPr userDrawn="1"/>
        </p:nvPicPr>
        <p:blipFill>
          <a:blip r:embed="rId9"/>
          <a:stretch>
            <a:fillRect/>
          </a:stretch>
        </p:blipFill>
        <p:spPr bwMode="ltGray">
          <a:xfrm>
            <a:off x="551941" y="269875"/>
            <a:ext cx="2253600" cy="773055"/>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308038"/>
            <a:ext cx="75316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726005"/>
            <a:ext cx="753160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1912866"/>
            <a:ext cx="7531609"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4000" dirty="0"/>
            </a:lvl1pPr>
          </a:lstStyle>
          <a:p>
            <a:pPr lvl="0"/>
            <a:r>
              <a:rPr lang="en-US"/>
              <a:t>Click to edit Master title style</a:t>
            </a:r>
          </a:p>
        </p:txBody>
      </p:sp>
      <p:sp>
        <p:nvSpPr>
          <p:cNvPr id="5" name="Freeform: Shape 4">
            <a:extLst>
              <a:ext uri="{FF2B5EF4-FFF2-40B4-BE49-F238E27FC236}">
                <a16:creationId xmlns:a16="http://schemas.microsoft.com/office/drawing/2014/main" id="{49823706-F646-467B-9395-98491DCB3BFF}"/>
              </a:ext>
            </a:extLst>
          </p:cNvPr>
          <p:cNvSpPr/>
          <p:nvPr/>
        </p:nvSpPr>
        <p:spPr>
          <a:xfrm>
            <a:off x="0" y="0"/>
            <a:ext cx="12192000" cy="6858000"/>
          </a:xfrm>
          <a:custGeom>
            <a:avLst/>
            <a:gdLst>
              <a:gd name="connsiteX0" fmla="*/ 12191365 w 12192000"/>
              <a:gd name="connsiteY0" fmla="*/ 0 h 6858000"/>
              <a:gd name="connsiteX1" fmla="*/ 12191365 w 12192000"/>
              <a:gd name="connsiteY1" fmla="*/ 6852285 h 6858000"/>
              <a:gd name="connsiteX2" fmla="*/ 0 w 12192000"/>
              <a:gd name="connsiteY2" fmla="*/ 6852285 h 6858000"/>
              <a:gd name="connsiteX3" fmla="*/ 0 w 12192000"/>
              <a:gd name="connsiteY3" fmla="*/ 6858000 h 6858000"/>
              <a:gd name="connsiteX4" fmla="*/ 12192000 w 12192000"/>
              <a:gd name="connsiteY4" fmla="*/ 6858000 h 6858000"/>
              <a:gd name="connsiteX5" fmla="*/ 1219200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12191365" y="0"/>
                </a:moveTo>
                <a:lnTo>
                  <a:pt x="12191365" y="6852285"/>
                </a:lnTo>
                <a:lnTo>
                  <a:pt x="0" y="6852285"/>
                </a:lnTo>
                <a:lnTo>
                  <a:pt x="0" y="6858000"/>
                </a:lnTo>
                <a:lnTo>
                  <a:pt x="12192000" y="6858000"/>
                </a:lnTo>
                <a:lnTo>
                  <a:pt x="12192000" y="0"/>
                </a:lnTo>
                <a:close/>
              </a:path>
            </a:pathLst>
          </a:custGeom>
          <a:noFill/>
          <a:ln w="6350" cap="flat">
            <a:noFill/>
            <a:prstDash val="solid"/>
            <a:miter/>
          </a:ln>
        </p:spPr>
        <p:txBody>
          <a:bodyPr rtlCol="0" anchor="ctr"/>
          <a:lstStyle/>
          <a:p>
            <a:endParaRPr lang="en-GB"/>
          </a:p>
        </p:txBody>
      </p:sp>
      <p:grpSp>
        <p:nvGrpSpPr>
          <p:cNvPr id="226" name="Group 225">
            <a:extLst>
              <a:ext uri="{FF2B5EF4-FFF2-40B4-BE49-F238E27FC236}">
                <a16:creationId xmlns:a16="http://schemas.microsoft.com/office/drawing/2014/main" id="{8175B128-10A9-41B9-8F78-558EAD819DF4}"/>
              </a:ext>
            </a:extLst>
          </p:cNvPr>
          <p:cNvGrpSpPr/>
          <p:nvPr userDrawn="1"/>
        </p:nvGrpSpPr>
        <p:grpSpPr bwMode="ltGray">
          <a:xfrm>
            <a:off x="81914" y="35560"/>
            <a:ext cx="12060555" cy="6785609"/>
            <a:chOff x="81914" y="35560"/>
            <a:chExt cx="12060555" cy="6785609"/>
          </a:xfrm>
        </p:grpSpPr>
        <p:sp>
          <p:nvSpPr>
            <p:cNvPr id="10" name="Freeform: Shape 9">
              <a:extLst>
                <a:ext uri="{FF2B5EF4-FFF2-40B4-BE49-F238E27FC236}">
                  <a16:creationId xmlns:a16="http://schemas.microsoft.com/office/drawing/2014/main" id="{A6A6D58C-9FAE-47F0-A85C-BC1826764B02}"/>
                </a:ext>
              </a:extLst>
            </p:cNvPr>
            <p:cNvSpPr/>
            <p:nvPr/>
          </p:nvSpPr>
          <p:spPr bwMode="ltGray">
            <a:xfrm>
              <a:off x="11607800" y="2728595"/>
              <a:ext cx="53340" cy="53339"/>
            </a:xfrm>
            <a:custGeom>
              <a:avLst/>
              <a:gdLst>
                <a:gd name="connsiteX0" fmla="*/ 53340 w 53340"/>
                <a:gd name="connsiteY0" fmla="*/ 26670 h 53339"/>
                <a:gd name="connsiteX1" fmla="*/ 26670 w 53340"/>
                <a:gd name="connsiteY1" fmla="*/ 53340 h 53339"/>
                <a:gd name="connsiteX2" fmla="*/ 1 w 53340"/>
                <a:gd name="connsiteY2" fmla="*/ 26670 h 53339"/>
                <a:gd name="connsiteX3" fmla="*/ 26670 w 53340"/>
                <a:gd name="connsiteY3" fmla="*/ 0 h 53339"/>
                <a:gd name="connsiteX4" fmla="*/ 53340 w 53340"/>
                <a:gd name="connsiteY4" fmla="*/ 26670 h 53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39">
                  <a:moveTo>
                    <a:pt x="53340" y="26670"/>
                  </a:moveTo>
                  <a:cubicBezTo>
                    <a:pt x="53340" y="41399"/>
                    <a:pt x="41400" y="53340"/>
                    <a:pt x="26670" y="53340"/>
                  </a:cubicBezTo>
                  <a:cubicBezTo>
                    <a:pt x="11941" y="53340"/>
                    <a:pt x="1" y="41399"/>
                    <a:pt x="1" y="26670"/>
                  </a:cubicBezTo>
                  <a:cubicBezTo>
                    <a:pt x="1" y="11940"/>
                    <a:pt x="11941" y="0"/>
                    <a:pt x="26670" y="0"/>
                  </a:cubicBezTo>
                  <a:cubicBezTo>
                    <a:pt x="41400" y="0"/>
                    <a:pt x="53340" y="11940"/>
                    <a:pt x="53340" y="26670"/>
                  </a:cubicBezTo>
                  <a:close/>
                </a:path>
              </a:pathLst>
            </a:custGeom>
            <a:solidFill>
              <a:srgbClr val="F6DE00"/>
            </a:solidFill>
            <a:ln w="635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ACB9C6D0-EFFD-4A20-856A-2924D836E51F}"/>
                </a:ext>
              </a:extLst>
            </p:cNvPr>
            <p:cNvSpPr/>
            <p:nvPr/>
          </p:nvSpPr>
          <p:spPr bwMode="ltGray">
            <a:xfrm>
              <a:off x="11236960" y="2723515"/>
              <a:ext cx="63500" cy="63500"/>
            </a:xfrm>
            <a:custGeom>
              <a:avLst/>
              <a:gdLst>
                <a:gd name="connsiteX0" fmla="*/ 63500 w 63500"/>
                <a:gd name="connsiteY0" fmla="*/ 31750 h 63500"/>
                <a:gd name="connsiteX1" fmla="*/ 31750 w 63500"/>
                <a:gd name="connsiteY1" fmla="*/ 63500 h 63500"/>
                <a:gd name="connsiteX2" fmla="*/ 0 w 63500"/>
                <a:gd name="connsiteY2" fmla="*/ 31750 h 63500"/>
                <a:gd name="connsiteX3" fmla="*/ 31750 w 63500"/>
                <a:gd name="connsiteY3" fmla="*/ 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49285"/>
                    <a:pt x="49285" y="63500"/>
                    <a:pt x="31750" y="63500"/>
                  </a:cubicBezTo>
                  <a:cubicBezTo>
                    <a:pt x="14214" y="63500"/>
                    <a:pt x="0" y="49285"/>
                    <a:pt x="0" y="31750"/>
                  </a:cubicBezTo>
                  <a:cubicBezTo>
                    <a:pt x="0" y="14215"/>
                    <a:pt x="14214" y="0"/>
                    <a:pt x="31750" y="0"/>
                  </a:cubicBezTo>
                  <a:cubicBezTo>
                    <a:pt x="49285" y="0"/>
                    <a:pt x="63500" y="14215"/>
                    <a:pt x="63500" y="31750"/>
                  </a:cubicBezTo>
                  <a:close/>
                </a:path>
              </a:pathLst>
            </a:custGeom>
            <a:solidFill>
              <a:srgbClr val="F6DE00"/>
            </a:solidFill>
            <a:ln w="635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82B9C40-F4FB-4DFD-A517-DE8602EEA33C}"/>
                </a:ext>
              </a:extLst>
            </p:cNvPr>
            <p:cNvSpPr/>
            <p:nvPr/>
          </p:nvSpPr>
          <p:spPr bwMode="ltGray">
            <a:xfrm>
              <a:off x="10868660" y="2720975"/>
              <a:ext cx="68580" cy="68579"/>
            </a:xfrm>
            <a:custGeom>
              <a:avLst/>
              <a:gdLst>
                <a:gd name="connsiteX0" fmla="*/ 68580 w 68580"/>
                <a:gd name="connsiteY0" fmla="*/ 34290 h 68579"/>
                <a:gd name="connsiteX1" fmla="*/ 34290 w 68580"/>
                <a:gd name="connsiteY1" fmla="*/ 68580 h 68579"/>
                <a:gd name="connsiteX2" fmla="*/ 0 w 68580"/>
                <a:gd name="connsiteY2" fmla="*/ 34290 h 68579"/>
                <a:gd name="connsiteX3" fmla="*/ 34290 w 68580"/>
                <a:gd name="connsiteY3" fmla="*/ 0 h 68579"/>
                <a:gd name="connsiteX4" fmla="*/ 68580 w 68580"/>
                <a:gd name="connsiteY4" fmla="*/ 34290 h 6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79">
                  <a:moveTo>
                    <a:pt x="68580" y="34290"/>
                  </a:moveTo>
                  <a:cubicBezTo>
                    <a:pt x="68580" y="53228"/>
                    <a:pt x="53228" y="68580"/>
                    <a:pt x="34290" y="68580"/>
                  </a:cubicBezTo>
                  <a:cubicBezTo>
                    <a:pt x="15352" y="68580"/>
                    <a:pt x="0" y="53228"/>
                    <a:pt x="0" y="34290"/>
                  </a:cubicBezTo>
                  <a:cubicBezTo>
                    <a:pt x="0" y="15352"/>
                    <a:pt x="15352" y="0"/>
                    <a:pt x="34290" y="0"/>
                  </a:cubicBezTo>
                  <a:cubicBezTo>
                    <a:pt x="53228"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A0B1B91-5094-4635-97BE-2C49CFFE66CA}"/>
                </a:ext>
              </a:extLst>
            </p:cNvPr>
            <p:cNvSpPr/>
            <p:nvPr/>
          </p:nvSpPr>
          <p:spPr bwMode="ltGray">
            <a:xfrm>
              <a:off x="10504169" y="2722245"/>
              <a:ext cx="66040" cy="66039"/>
            </a:xfrm>
            <a:custGeom>
              <a:avLst/>
              <a:gdLst>
                <a:gd name="connsiteX0" fmla="*/ 66040 w 66040"/>
                <a:gd name="connsiteY0" fmla="*/ 33020 h 66039"/>
                <a:gd name="connsiteX1" fmla="*/ 33020 w 66040"/>
                <a:gd name="connsiteY1" fmla="*/ 0 h 66039"/>
                <a:gd name="connsiteX2" fmla="*/ 0 w 66040"/>
                <a:gd name="connsiteY2" fmla="*/ 33020 h 66039"/>
                <a:gd name="connsiteX3" fmla="*/ 33020 w 66040"/>
                <a:gd name="connsiteY3" fmla="*/ 66040 h 66039"/>
                <a:gd name="connsiteX4" fmla="*/ 66040 w 66040"/>
                <a:gd name="connsiteY4" fmla="*/ 33020 h 6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40" h="66039">
                  <a:moveTo>
                    <a:pt x="66040" y="33020"/>
                  </a:moveTo>
                  <a:cubicBezTo>
                    <a:pt x="66040" y="14605"/>
                    <a:pt x="51436" y="0"/>
                    <a:pt x="33020" y="0"/>
                  </a:cubicBezTo>
                  <a:cubicBezTo>
                    <a:pt x="14605" y="0"/>
                    <a:pt x="0" y="14605"/>
                    <a:pt x="0" y="33020"/>
                  </a:cubicBezTo>
                  <a:cubicBezTo>
                    <a:pt x="0" y="51435"/>
                    <a:pt x="14605" y="66040"/>
                    <a:pt x="33020" y="66040"/>
                  </a:cubicBezTo>
                  <a:cubicBezTo>
                    <a:pt x="51436" y="66040"/>
                    <a:pt x="66040" y="51435"/>
                    <a:pt x="66040" y="33020"/>
                  </a:cubicBezTo>
                  <a:close/>
                </a:path>
              </a:pathLst>
            </a:custGeom>
            <a:solidFill>
              <a:srgbClr val="F6DE00"/>
            </a:solidFill>
            <a:ln w="635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CBDDCEC-E583-4DAF-9ABC-15808C741EE8}"/>
                </a:ext>
              </a:extLst>
            </p:cNvPr>
            <p:cNvSpPr/>
            <p:nvPr/>
          </p:nvSpPr>
          <p:spPr bwMode="ltGray">
            <a:xfrm>
              <a:off x="10141584" y="2726054"/>
              <a:ext cx="58442" cy="58420"/>
            </a:xfrm>
            <a:custGeom>
              <a:avLst/>
              <a:gdLst>
                <a:gd name="connsiteX0" fmla="*/ 29210 w 58442"/>
                <a:gd name="connsiteY0" fmla="*/ 0 h 58420"/>
                <a:gd name="connsiteX1" fmla="*/ 0 w 58442"/>
                <a:gd name="connsiteY1" fmla="*/ 29210 h 58420"/>
                <a:gd name="connsiteX2" fmla="*/ 29210 w 58442"/>
                <a:gd name="connsiteY2" fmla="*/ 58420 h 58420"/>
                <a:gd name="connsiteX3" fmla="*/ 58420 w 58442"/>
                <a:gd name="connsiteY3" fmla="*/ 29210 h 58420"/>
                <a:gd name="connsiteX4" fmla="*/ 29210 w 58442"/>
                <a:gd name="connsiteY4" fmla="*/ 0 h 5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42" h="58420">
                  <a:moveTo>
                    <a:pt x="29210" y="0"/>
                  </a:moveTo>
                  <a:cubicBezTo>
                    <a:pt x="12700" y="0"/>
                    <a:pt x="0" y="13335"/>
                    <a:pt x="0" y="29210"/>
                  </a:cubicBezTo>
                  <a:cubicBezTo>
                    <a:pt x="0" y="45720"/>
                    <a:pt x="13335" y="58420"/>
                    <a:pt x="29210" y="58420"/>
                  </a:cubicBezTo>
                  <a:cubicBezTo>
                    <a:pt x="45720" y="58420"/>
                    <a:pt x="58420" y="45085"/>
                    <a:pt x="58420" y="29210"/>
                  </a:cubicBezTo>
                  <a:cubicBezTo>
                    <a:pt x="59055" y="13335"/>
                    <a:pt x="45720" y="0"/>
                    <a:pt x="29210" y="0"/>
                  </a:cubicBezTo>
                  <a:close/>
                </a:path>
              </a:pathLst>
            </a:custGeom>
            <a:solidFill>
              <a:srgbClr val="F6DE00"/>
            </a:solidFill>
            <a:ln w="635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D9EBBBF-77CC-4B7E-809B-C83DF53BFE23}"/>
                </a:ext>
              </a:extLst>
            </p:cNvPr>
            <p:cNvSpPr/>
            <p:nvPr/>
          </p:nvSpPr>
          <p:spPr bwMode="ltGray">
            <a:xfrm>
              <a:off x="9781540" y="2731770"/>
              <a:ext cx="46990" cy="46989"/>
            </a:xfrm>
            <a:custGeom>
              <a:avLst/>
              <a:gdLst>
                <a:gd name="connsiteX0" fmla="*/ 46990 w 46990"/>
                <a:gd name="connsiteY0" fmla="*/ 23495 h 46989"/>
                <a:gd name="connsiteX1" fmla="*/ 23495 w 46990"/>
                <a:gd name="connsiteY1" fmla="*/ 0 h 46989"/>
                <a:gd name="connsiteX2" fmla="*/ 0 w 46990"/>
                <a:gd name="connsiteY2" fmla="*/ 23495 h 46989"/>
                <a:gd name="connsiteX3" fmla="*/ 23495 w 46990"/>
                <a:gd name="connsiteY3" fmla="*/ 46990 h 46989"/>
                <a:gd name="connsiteX4" fmla="*/ 46990 w 46990"/>
                <a:gd name="connsiteY4" fmla="*/ 23495 h 4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0" h="46989">
                  <a:moveTo>
                    <a:pt x="46990" y="23495"/>
                  </a:moveTo>
                  <a:cubicBezTo>
                    <a:pt x="46990" y="10795"/>
                    <a:pt x="36830" y="0"/>
                    <a:pt x="23495" y="0"/>
                  </a:cubicBezTo>
                  <a:cubicBezTo>
                    <a:pt x="10795" y="0"/>
                    <a:pt x="0" y="10160"/>
                    <a:pt x="0" y="23495"/>
                  </a:cubicBezTo>
                  <a:cubicBezTo>
                    <a:pt x="0" y="36195"/>
                    <a:pt x="10160" y="46990"/>
                    <a:pt x="23495" y="46990"/>
                  </a:cubicBezTo>
                  <a:cubicBezTo>
                    <a:pt x="36195" y="46990"/>
                    <a:pt x="46990" y="36830"/>
                    <a:pt x="46990" y="23495"/>
                  </a:cubicBezTo>
                  <a:close/>
                </a:path>
              </a:pathLst>
            </a:custGeom>
            <a:solidFill>
              <a:srgbClr val="F6DE00"/>
            </a:solidFill>
            <a:ln w="635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B353A2FB-2842-4DA9-9824-923898EC66CA}"/>
                </a:ext>
              </a:extLst>
            </p:cNvPr>
            <p:cNvSpPr/>
            <p:nvPr/>
          </p:nvSpPr>
          <p:spPr bwMode="ltGray">
            <a:xfrm>
              <a:off x="11961494" y="2350135"/>
              <a:ext cx="78740" cy="78739"/>
            </a:xfrm>
            <a:custGeom>
              <a:avLst/>
              <a:gdLst>
                <a:gd name="connsiteX0" fmla="*/ 39370 w 78740"/>
                <a:gd name="connsiteY0" fmla="*/ 0 h 78739"/>
                <a:gd name="connsiteX1" fmla="*/ 0 w 78740"/>
                <a:gd name="connsiteY1" fmla="*/ 39370 h 78739"/>
                <a:gd name="connsiteX2" fmla="*/ 39370 w 78740"/>
                <a:gd name="connsiteY2" fmla="*/ 78740 h 78739"/>
                <a:gd name="connsiteX3" fmla="*/ 78740 w 78740"/>
                <a:gd name="connsiteY3" fmla="*/ 39370 h 78739"/>
                <a:gd name="connsiteX4" fmla="*/ 39370 w 78740"/>
                <a:gd name="connsiteY4" fmla="*/ 0 h 7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39">
                  <a:moveTo>
                    <a:pt x="39370" y="0"/>
                  </a:moveTo>
                  <a:cubicBezTo>
                    <a:pt x="17780" y="0"/>
                    <a:pt x="0" y="17780"/>
                    <a:pt x="0" y="39370"/>
                  </a:cubicBezTo>
                  <a:cubicBezTo>
                    <a:pt x="0" y="60960"/>
                    <a:pt x="17780" y="78740"/>
                    <a:pt x="39370" y="78740"/>
                  </a:cubicBezTo>
                  <a:cubicBezTo>
                    <a:pt x="60961" y="78740"/>
                    <a:pt x="78740" y="60960"/>
                    <a:pt x="78740" y="39370"/>
                  </a:cubicBezTo>
                  <a:cubicBezTo>
                    <a:pt x="78740" y="17780"/>
                    <a:pt x="60961" y="0"/>
                    <a:pt x="39370" y="0"/>
                  </a:cubicBezTo>
                  <a:close/>
                </a:path>
              </a:pathLst>
            </a:custGeom>
            <a:solidFill>
              <a:srgbClr val="F6DE00"/>
            </a:solidFill>
            <a:ln w="635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4836F706-8181-499C-B36F-045ACEF12EA6}"/>
                </a:ext>
              </a:extLst>
            </p:cNvPr>
            <p:cNvSpPr/>
            <p:nvPr/>
          </p:nvSpPr>
          <p:spPr bwMode="ltGray">
            <a:xfrm>
              <a:off x="11584305" y="2339339"/>
              <a:ext cx="100342" cy="100330"/>
            </a:xfrm>
            <a:custGeom>
              <a:avLst/>
              <a:gdLst>
                <a:gd name="connsiteX0" fmla="*/ 50164 w 100342"/>
                <a:gd name="connsiteY0" fmla="*/ 0 h 100330"/>
                <a:gd name="connsiteX1" fmla="*/ 0 w 100342"/>
                <a:gd name="connsiteY1" fmla="*/ 50165 h 100330"/>
                <a:gd name="connsiteX2" fmla="*/ 50164 w 100342"/>
                <a:gd name="connsiteY2" fmla="*/ 100330 h 100330"/>
                <a:gd name="connsiteX3" fmla="*/ 100330 w 100342"/>
                <a:gd name="connsiteY3" fmla="*/ 50165 h 100330"/>
                <a:gd name="connsiteX4" fmla="*/ 50164 w 100342"/>
                <a:gd name="connsiteY4" fmla="*/ 0 h 100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2" h="100330">
                  <a:moveTo>
                    <a:pt x="50164" y="0"/>
                  </a:moveTo>
                  <a:cubicBezTo>
                    <a:pt x="22225" y="0"/>
                    <a:pt x="0" y="22225"/>
                    <a:pt x="0" y="50165"/>
                  </a:cubicBezTo>
                  <a:cubicBezTo>
                    <a:pt x="0" y="78105"/>
                    <a:pt x="22225" y="100330"/>
                    <a:pt x="50164" y="100330"/>
                  </a:cubicBezTo>
                  <a:cubicBezTo>
                    <a:pt x="78105" y="100330"/>
                    <a:pt x="100330" y="78105"/>
                    <a:pt x="100330" y="50165"/>
                  </a:cubicBezTo>
                  <a:cubicBezTo>
                    <a:pt x="100964" y="22225"/>
                    <a:pt x="78105" y="0"/>
                    <a:pt x="50164" y="0"/>
                  </a:cubicBezTo>
                  <a:close/>
                </a:path>
              </a:pathLst>
            </a:custGeom>
            <a:solidFill>
              <a:srgbClr val="F6DE00"/>
            </a:solidFill>
            <a:ln w="635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A26EAF12-6F30-46C4-A66A-6BFE62876738}"/>
                </a:ext>
              </a:extLst>
            </p:cNvPr>
            <p:cNvSpPr/>
            <p:nvPr/>
          </p:nvSpPr>
          <p:spPr bwMode="ltGray">
            <a:xfrm>
              <a:off x="11210290" y="2331085"/>
              <a:ext cx="116840" cy="116839"/>
            </a:xfrm>
            <a:custGeom>
              <a:avLst/>
              <a:gdLst>
                <a:gd name="connsiteX0" fmla="*/ 58420 w 116840"/>
                <a:gd name="connsiteY0" fmla="*/ 0 h 116839"/>
                <a:gd name="connsiteX1" fmla="*/ 0 w 116840"/>
                <a:gd name="connsiteY1" fmla="*/ 58420 h 116839"/>
                <a:gd name="connsiteX2" fmla="*/ 58420 w 116840"/>
                <a:gd name="connsiteY2" fmla="*/ 116840 h 116839"/>
                <a:gd name="connsiteX3" fmla="*/ 116840 w 116840"/>
                <a:gd name="connsiteY3" fmla="*/ 58420 h 116839"/>
                <a:gd name="connsiteX4" fmla="*/ 58420 w 116840"/>
                <a:gd name="connsiteY4" fmla="*/ 0 h 116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 h="116839">
                  <a:moveTo>
                    <a:pt x="58420" y="0"/>
                  </a:moveTo>
                  <a:cubicBezTo>
                    <a:pt x="26035" y="0"/>
                    <a:pt x="0" y="26035"/>
                    <a:pt x="0" y="58420"/>
                  </a:cubicBezTo>
                  <a:cubicBezTo>
                    <a:pt x="0" y="90805"/>
                    <a:pt x="26035" y="116840"/>
                    <a:pt x="58420" y="116840"/>
                  </a:cubicBezTo>
                  <a:cubicBezTo>
                    <a:pt x="90805" y="116840"/>
                    <a:pt x="116840" y="90805"/>
                    <a:pt x="116840" y="58420"/>
                  </a:cubicBezTo>
                  <a:cubicBezTo>
                    <a:pt x="116840" y="26035"/>
                    <a:pt x="90805" y="0"/>
                    <a:pt x="58420" y="0"/>
                  </a:cubicBezTo>
                  <a:close/>
                </a:path>
              </a:pathLst>
            </a:custGeom>
            <a:solidFill>
              <a:srgbClr val="F6DE00"/>
            </a:solidFill>
            <a:ln w="635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5BD543B1-3543-4716-B455-2CC715104023}"/>
                </a:ext>
              </a:extLst>
            </p:cNvPr>
            <p:cNvSpPr/>
            <p:nvPr/>
          </p:nvSpPr>
          <p:spPr bwMode="ltGray">
            <a:xfrm>
              <a:off x="10840084" y="2326639"/>
              <a:ext cx="125730" cy="125730"/>
            </a:xfrm>
            <a:custGeom>
              <a:avLst/>
              <a:gdLst>
                <a:gd name="connsiteX0" fmla="*/ 125730 w 125730"/>
                <a:gd name="connsiteY0" fmla="*/ 62865 h 125730"/>
                <a:gd name="connsiteX1" fmla="*/ 62865 w 125730"/>
                <a:gd name="connsiteY1" fmla="*/ 0 h 125730"/>
                <a:gd name="connsiteX2" fmla="*/ 0 w 125730"/>
                <a:gd name="connsiteY2" fmla="*/ 62865 h 125730"/>
                <a:gd name="connsiteX3" fmla="*/ 62865 w 125730"/>
                <a:gd name="connsiteY3" fmla="*/ 125730 h 125730"/>
                <a:gd name="connsiteX4" fmla="*/ 125730 w 125730"/>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0" h="125730">
                  <a:moveTo>
                    <a:pt x="125730" y="62865"/>
                  </a:moveTo>
                  <a:cubicBezTo>
                    <a:pt x="125730" y="27940"/>
                    <a:pt x="97790" y="0"/>
                    <a:pt x="62865" y="0"/>
                  </a:cubicBezTo>
                  <a:cubicBezTo>
                    <a:pt x="27940" y="0"/>
                    <a:pt x="0" y="27940"/>
                    <a:pt x="0" y="62865"/>
                  </a:cubicBezTo>
                  <a:cubicBezTo>
                    <a:pt x="0" y="97790"/>
                    <a:pt x="27940" y="125730"/>
                    <a:pt x="62865" y="125730"/>
                  </a:cubicBezTo>
                  <a:cubicBezTo>
                    <a:pt x="97790" y="125730"/>
                    <a:pt x="125730" y="97790"/>
                    <a:pt x="125730" y="62865"/>
                  </a:cubicBezTo>
                  <a:close/>
                </a:path>
              </a:pathLst>
            </a:custGeom>
            <a:solidFill>
              <a:srgbClr val="F6DE00"/>
            </a:solidFill>
            <a:ln w="635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8E65A02-1DED-45D3-844F-B417A6D732E8}"/>
                </a:ext>
              </a:extLst>
            </p:cNvPr>
            <p:cNvSpPr/>
            <p:nvPr/>
          </p:nvSpPr>
          <p:spPr bwMode="ltGray">
            <a:xfrm>
              <a:off x="10476230" y="2328545"/>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F6DE00"/>
            </a:solidFill>
            <a:ln w="635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3B5F07E2-578A-4CD3-9D4D-01CA6147B2BC}"/>
                </a:ext>
              </a:extLst>
            </p:cNvPr>
            <p:cNvSpPr/>
            <p:nvPr/>
          </p:nvSpPr>
          <p:spPr bwMode="ltGray">
            <a:xfrm>
              <a:off x="10115550" y="2334260"/>
              <a:ext cx="110490" cy="110489"/>
            </a:xfrm>
            <a:custGeom>
              <a:avLst/>
              <a:gdLst>
                <a:gd name="connsiteX0" fmla="*/ 110490 w 110490"/>
                <a:gd name="connsiteY0" fmla="*/ 55245 h 110489"/>
                <a:gd name="connsiteX1" fmla="*/ 55245 w 110490"/>
                <a:gd name="connsiteY1" fmla="*/ 0 h 110489"/>
                <a:gd name="connsiteX2" fmla="*/ 0 w 110490"/>
                <a:gd name="connsiteY2" fmla="*/ 55245 h 110489"/>
                <a:gd name="connsiteX3" fmla="*/ 55245 w 110490"/>
                <a:gd name="connsiteY3" fmla="*/ 110490 h 110489"/>
                <a:gd name="connsiteX4" fmla="*/ 110490 w 110490"/>
                <a:gd name="connsiteY4" fmla="*/ 55245 h 110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90" h="110489">
                  <a:moveTo>
                    <a:pt x="110490" y="55245"/>
                  </a:moveTo>
                  <a:cubicBezTo>
                    <a:pt x="110490" y="24765"/>
                    <a:pt x="85725" y="0"/>
                    <a:pt x="55245" y="0"/>
                  </a:cubicBezTo>
                  <a:cubicBezTo>
                    <a:pt x="24765" y="0"/>
                    <a:pt x="0" y="24765"/>
                    <a:pt x="0" y="55245"/>
                  </a:cubicBezTo>
                  <a:cubicBezTo>
                    <a:pt x="0" y="85725"/>
                    <a:pt x="24765" y="110490"/>
                    <a:pt x="55245" y="110490"/>
                  </a:cubicBezTo>
                  <a:cubicBezTo>
                    <a:pt x="86360" y="110490"/>
                    <a:pt x="110490" y="85725"/>
                    <a:pt x="110490" y="55245"/>
                  </a:cubicBezTo>
                  <a:close/>
                </a:path>
              </a:pathLst>
            </a:custGeom>
            <a:solidFill>
              <a:srgbClr val="F6DE00"/>
            </a:solidFill>
            <a:ln w="6350"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0151BB24-B503-4303-B150-25373EFF6257}"/>
                </a:ext>
              </a:extLst>
            </p:cNvPr>
            <p:cNvSpPr/>
            <p:nvPr/>
          </p:nvSpPr>
          <p:spPr bwMode="ltGray">
            <a:xfrm>
              <a:off x="9759950" y="2344420"/>
              <a:ext cx="90169" cy="90169"/>
            </a:xfrm>
            <a:custGeom>
              <a:avLst/>
              <a:gdLst>
                <a:gd name="connsiteX0" fmla="*/ 90170 w 90169"/>
                <a:gd name="connsiteY0" fmla="*/ 45085 h 90169"/>
                <a:gd name="connsiteX1" fmla="*/ 45085 w 90169"/>
                <a:gd name="connsiteY1" fmla="*/ 0 h 90169"/>
                <a:gd name="connsiteX2" fmla="*/ 0 w 90169"/>
                <a:gd name="connsiteY2" fmla="*/ 45085 h 90169"/>
                <a:gd name="connsiteX3" fmla="*/ 45085 w 90169"/>
                <a:gd name="connsiteY3" fmla="*/ 90170 h 90169"/>
                <a:gd name="connsiteX4" fmla="*/ 90170 w 90169"/>
                <a:gd name="connsiteY4" fmla="*/ 45085 h 90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69" h="90169">
                  <a:moveTo>
                    <a:pt x="90170" y="45085"/>
                  </a:moveTo>
                  <a:cubicBezTo>
                    <a:pt x="90170" y="20320"/>
                    <a:pt x="69850" y="0"/>
                    <a:pt x="45085" y="0"/>
                  </a:cubicBezTo>
                  <a:cubicBezTo>
                    <a:pt x="20320" y="0"/>
                    <a:pt x="0" y="20320"/>
                    <a:pt x="0" y="45085"/>
                  </a:cubicBezTo>
                  <a:cubicBezTo>
                    <a:pt x="0" y="69850"/>
                    <a:pt x="20320" y="90170"/>
                    <a:pt x="45085" y="90170"/>
                  </a:cubicBezTo>
                  <a:cubicBezTo>
                    <a:pt x="69850" y="90170"/>
                    <a:pt x="90170" y="69850"/>
                    <a:pt x="90170" y="45085"/>
                  </a:cubicBezTo>
                  <a:close/>
                </a:path>
              </a:pathLst>
            </a:custGeom>
            <a:solidFill>
              <a:srgbClr val="F6DE00"/>
            </a:solidFill>
            <a:ln w="635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56ECB825-259E-48FE-A9F8-39DD762F8454}"/>
                </a:ext>
              </a:extLst>
            </p:cNvPr>
            <p:cNvSpPr/>
            <p:nvPr/>
          </p:nvSpPr>
          <p:spPr bwMode="ltGray">
            <a:xfrm>
              <a:off x="9406890" y="2357120"/>
              <a:ext cx="64769" cy="64769"/>
            </a:xfrm>
            <a:custGeom>
              <a:avLst/>
              <a:gdLst>
                <a:gd name="connsiteX0" fmla="*/ 64770 w 64769"/>
                <a:gd name="connsiteY0" fmla="*/ 32385 h 64769"/>
                <a:gd name="connsiteX1" fmla="*/ 32385 w 64769"/>
                <a:gd name="connsiteY1" fmla="*/ 0 h 64769"/>
                <a:gd name="connsiteX2" fmla="*/ 0 w 64769"/>
                <a:gd name="connsiteY2" fmla="*/ 32385 h 64769"/>
                <a:gd name="connsiteX3" fmla="*/ 32385 w 64769"/>
                <a:gd name="connsiteY3" fmla="*/ 64770 h 64769"/>
                <a:gd name="connsiteX4" fmla="*/ 64770 w 64769"/>
                <a:gd name="connsiteY4" fmla="*/ 32385 h 6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69">
                  <a:moveTo>
                    <a:pt x="64770" y="32385"/>
                  </a:moveTo>
                  <a:cubicBezTo>
                    <a:pt x="64770" y="14605"/>
                    <a:pt x="50165" y="0"/>
                    <a:pt x="32385" y="0"/>
                  </a:cubicBezTo>
                  <a:cubicBezTo>
                    <a:pt x="14605" y="0"/>
                    <a:pt x="0" y="14605"/>
                    <a:pt x="0" y="32385"/>
                  </a:cubicBezTo>
                  <a:cubicBezTo>
                    <a:pt x="0" y="50165"/>
                    <a:pt x="14605" y="64770"/>
                    <a:pt x="32385" y="64770"/>
                  </a:cubicBezTo>
                  <a:cubicBezTo>
                    <a:pt x="50165" y="64770"/>
                    <a:pt x="64770" y="50800"/>
                    <a:pt x="64770" y="32385"/>
                  </a:cubicBezTo>
                  <a:close/>
                </a:path>
              </a:pathLst>
            </a:custGeom>
            <a:solidFill>
              <a:srgbClr val="F6DE00"/>
            </a:solidFill>
            <a:ln w="635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C41D8B98-95DD-46AD-9EF8-F77092126302}"/>
                </a:ext>
              </a:extLst>
            </p:cNvPr>
            <p:cNvSpPr/>
            <p:nvPr/>
          </p:nvSpPr>
          <p:spPr bwMode="ltGray">
            <a:xfrm>
              <a:off x="9052559" y="2368550"/>
              <a:ext cx="41909" cy="41910"/>
            </a:xfrm>
            <a:custGeom>
              <a:avLst/>
              <a:gdLst>
                <a:gd name="connsiteX0" fmla="*/ 20955 w 41909"/>
                <a:gd name="connsiteY0" fmla="*/ 41910 h 41910"/>
                <a:gd name="connsiteX1" fmla="*/ 41910 w 41909"/>
                <a:gd name="connsiteY1" fmla="*/ 20955 h 41910"/>
                <a:gd name="connsiteX2" fmla="*/ 20955 w 41909"/>
                <a:gd name="connsiteY2" fmla="*/ 0 h 41910"/>
                <a:gd name="connsiteX3" fmla="*/ 0 w 41909"/>
                <a:gd name="connsiteY3" fmla="*/ 20955 h 41910"/>
                <a:gd name="connsiteX4" fmla="*/ 20955 w 41909"/>
                <a:gd name="connsiteY4" fmla="*/ 41910 h 41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09" h="41910">
                  <a:moveTo>
                    <a:pt x="20955" y="41910"/>
                  </a:moveTo>
                  <a:cubicBezTo>
                    <a:pt x="32385" y="41910"/>
                    <a:pt x="41910" y="32385"/>
                    <a:pt x="41910" y="20955"/>
                  </a:cubicBezTo>
                  <a:cubicBezTo>
                    <a:pt x="41910" y="9525"/>
                    <a:pt x="32385"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D3F334F-6727-41B6-86C4-272F8E32994D}"/>
                </a:ext>
              </a:extLst>
            </p:cNvPr>
            <p:cNvSpPr/>
            <p:nvPr/>
          </p:nvSpPr>
          <p:spPr bwMode="ltGray">
            <a:xfrm>
              <a:off x="11935459" y="1958339"/>
              <a:ext cx="130809" cy="130810"/>
            </a:xfrm>
            <a:custGeom>
              <a:avLst/>
              <a:gdLst>
                <a:gd name="connsiteX0" fmla="*/ 65405 w 130809"/>
                <a:gd name="connsiteY0" fmla="*/ 0 h 130810"/>
                <a:gd name="connsiteX1" fmla="*/ 0 w 130809"/>
                <a:gd name="connsiteY1" fmla="*/ 65405 h 130810"/>
                <a:gd name="connsiteX2" fmla="*/ 65405 w 130809"/>
                <a:gd name="connsiteY2" fmla="*/ 130810 h 130810"/>
                <a:gd name="connsiteX3" fmla="*/ 130810 w 130809"/>
                <a:gd name="connsiteY3" fmla="*/ 65405 h 130810"/>
                <a:gd name="connsiteX4" fmla="*/ 65405 w 130809"/>
                <a:gd name="connsiteY4" fmla="*/ 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0"/>
                  </a:moveTo>
                  <a:cubicBezTo>
                    <a:pt x="29210" y="0"/>
                    <a:pt x="0" y="29210"/>
                    <a:pt x="0" y="65405"/>
                  </a:cubicBezTo>
                  <a:cubicBezTo>
                    <a:pt x="0" y="101600"/>
                    <a:pt x="29210" y="130810"/>
                    <a:pt x="65405" y="130810"/>
                  </a:cubicBezTo>
                  <a:cubicBezTo>
                    <a:pt x="101600" y="130810"/>
                    <a:pt x="130810" y="101600"/>
                    <a:pt x="130810" y="65405"/>
                  </a:cubicBezTo>
                  <a:cubicBezTo>
                    <a:pt x="130175" y="29210"/>
                    <a:pt x="100965" y="0"/>
                    <a:pt x="65405" y="0"/>
                  </a:cubicBezTo>
                  <a:close/>
                </a:path>
              </a:pathLst>
            </a:custGeom>
            <a:solidFill>
              <a:srgbClr val="F6DE00"/>
            </a:solidFill>
            <a:ln w="635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654F7261-D778-41D3-84FF-8CEDEF00D2A9}"/>
                </a:ext>
              </a:extLst>
            </p:cNvPr>
            <p:cNvSpPr/>
            <p:nvPr/>
          </p:nvSpPr>
          <p:spPr bwMode="ltGray">
            <a:xfrm>
              <a:off x="11553825" y="1943100"/>
              <a:ext cx="161290" cy="161289"/>
            </a:xfrm>
            <a:custGeom>
              <a:avLst/>
              <a:gdLst>
                <a:gd name="connsiteX0" fmla="*/ 80645 w 161290"/>
                <a:gd name="connsiteY0" fmla="*/ 0 h 161289"/>
                <a:gd name="connsiteX1" fmla="*/ 0 w 161290"/>
                <a:gd name="connsiteY1" fmla="*/ 80645 h 161289"/>
                <a:gd name="connsiteX2" fmla="*/ 80645 w 161290"/>
                <a:gd name="connsiteY2" fmla="*/ 161290 h 161289"/>
                <a:gd name="connsiteX3" fmla="*/ 161290 w 161290"/>
                <a:gd name="connsiteY3" fmla="*/ 80645 h 161289"/>
                <a:gd name="connsiteX4" fmla="*/ 80645 w 161290"/>
                <a:gd name="connsiteY4" fmla="*/ 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90" h="161289">
                  <a:moveTo>
                    <a:pt x="80645" y="0"/>
                  </a:moveTo>
                  <a:cubicBezTo>
                    <a:pt x="36195" y="0"/>
                    <a:pt x="0" y="36195"/>
                    <a:pt x="0" y="80645"/>
                  </a:cubicBezTo>
                  <a:cubicBezTo>
                    <a:pt x="0" y="125095"/>
                    <a:pt x="36195" y="161290"/>
                    <a:pt x="80645" y="161290"/>
                  </a:cubicBezTo>
                  <a:cubicBezTo>
                    <a:pt x="125095" y="161290"/>
                    <a:pt x="161290" y="125095"/>
                    <a:pt x="161290" y="80645"/>
                  </a:cubicBezTo>
                  <a:cubicBezTo>
                    <a:pt x="161290" y="36195"/>
                    <a:pt x="125095" y="0"/>
                    <a:pt x="80645" y="0"/>
                  </a:cubicBezTo>
                  <a:close/>
                </a:path>
              </a:pathLst>
            </a:custGeom>
            <a:solidFill>
              <a:srgbClr val="F6DE00"/>
            </a:solidFill>
            <a:ln w="635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57E43617-6057-4197-8548-09C2DBFC421D}"/>
                </a:ext>
              </a:extLst>
            </p:cNvPr>
            <p:cNvSpPr/>
            <p:nvPr/>
          </p:nvSpPr>
          <p:spPr bwMode="ltGray">
            <a:xfrm>
              <a:off x="11177905" y="1932939"/>
              <a:ext cx="181617" cy="181610"/>
            </a:xfrm>
            <a:custGeom>
              <a:avLst/>
              <a:gdLst>
                <a:gd name="connsiteX0" fmla="*/ 90805 w 181617"/>
                <a:gd name="connsiteY0" fmla="*/ 0 h 181610"/>
                <a:gd name="connsiteX1" fmla="*/ 0 w 181617"/>
                <a:gd name="connsiteY1" fmla="*/ 90805 h 181610"/>
                <a:gd name="connsiteX2" fmla="*/ 90805 w 181617"/>
                <a:gd name="connsiteY2" fmla="*/ 181610 h 181610"/>
                <a:gd name="connsiteX3" fmla="*/ 181610 w 181617"/>
                <a:gd name="connsiteY3" fmla="*/ 90805 h 181610"/>
                <a:gd name="connsiteX4" fmla="*/ 90805 w 181617"/>
                <a:gd name="connsiteY4" fmla="*/ 0 h 18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17" h="181610">
                  <a:moveTo>
                    <a:pt x="90805" y="0"/>
                  </a:moveTo>
                  <a:cubicBezTo>
                    <a:pt x="40639" y="0"/>
                    <a:pt x="0" y="40640"/>
                    <a:pt x="0" y="90805"/>
                  </a:cubicBezTo>
                  <a:cubicBezTo>
                    <a:pt x="0" y="140970"/>
                    <a:pt x="40639" y="181610"/>
                    <a:pt x="90805" y="181610"/>
                  </a:cubicBezTo>
                  <a:cubicBezTo>
                    <a:pt x="140970" y="181610"/>
                    <a:pt x="181610" y="140970"/>
                    <a:pt x="181610" y="90805"/>
                  </a:cubicBezTo>
                  <a:cubicBezTo>
                    <a:pt x="182245" y="40640"/>
                    <a:pt x="140970" y="0"/>
                    <a:pt x="90805" y="0"/>
                  </a:cubicBezTo>
                  <a:close/>
                </a:path>
              </a:pathLst>
            </a:custGeom>
            <a:solidFill>
              <a:srgbClr val="F6DE00"/>
            </a:solidFill>
            <a:ln w="635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6BFB6ED0-3B36-47BB-9346-73E1AA150CD1}"/>
                </a:ext>
              </a:extLst>
            </p:cNvPr>
            <p:cNvSpPr/>
            <p:nvPr/>
          </p:nvSpPr>
          <p:spPr bwMode="ltGray">
            <a:xfrm>
              <a:off x="10807065" y="1927860"/>
              <a:ext cx="191769" cy="191769"/>
            </a:xfrm>
            <a:custGeom>
              <a:avLst/>
              <a:gdLst>
                <a:gd name="connsiteX0" fmla="*/ 95885 w 191769"/>
                <a:gd name="connsiteY0" fmla="*/ 0 h 191769"/>
                <a:gd name="connsiteX1" fmla="*/ 0 w 191769"/>
                <a:gd name="connsiteY1" fmla="*/ 95885 h 191769"/>
                <a:gd name="connsiteX2" fmla="*/ 95885 w 191769"/>
                <a:gd name="connsiteY2" fmla="*/ 191770 h 191769"/>
                <a:gd name="connsiteX3" fmla="*/ 191770 w 191769"/>
                <a:gd name="connsiteY3" fmla="*/ 95885 h 191769"/>
                <a:gd name="connsiteX4" fmla="*/ 95885 w 191769"/>
                <a:gd name="connsiteY4" fmla="*/ 0 h 19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769" h="191769">
                  <a:moveTo>
                    <a:pt x="95885" y="0"/>
                  </a:moveTo>
                  <a:cubicBezTo>
                    <a:pt x="42545" y="0"/>
                    <a:pt x="0" y="43180"/>
                    <a:pt x="0" y="95885"/>
                  </a:cubicBezTo>
                  <a:cubicBezTo>
                    <a:pt x="0" y="148590"/>
                    <a:pt x="43180" y="191770"/>
                    <a:pt x="95885" y="191770"/>
                  </a:cubicBezTo>
                  <a:cubicBezTo>
                    <a:pt x="148590" y="191770"/>
                    <a:pt x="191770" y="148590"/>
                    <a:pt x="191770" y="95885"/>
                  </a:cubicBezTo>
                  <a:cubicBezTo>
                    <a:pt x="191770" y="43180"/>
                    <a:pt x="148590" y="0"/>
                    <a:pt x="95885" y="0"/>
                  </a:cubicBezTo>
                  <a:close/>
                </a:path>
              </a:pathLst>
            </a:custGeom>
            <a:solidFill>
              <a:srgbClr val="F6DE00"/>
            </a:solidFill>
            <a:ln w="635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AA268116-912F-4F29-AD35-A41A8C319385}"/>
                </a:ext>
              </a:extLst>
            </p:cNvPr>
            <p:cNvSpPr/>
            <p:nvPr/>
          </p:nvSpPr>
          <p:spPr bwMode="ltGray">
            <a:xfrm>
              <a:off x="10443209" y="1929764"/>
              <a:ext cx="187959" cy="187960"/>
            </a:xfrm>
            <a:custGeom>
              <a:avLst/>
              <a:gdLst>
                <a:gd name="connsiteX0" fmla="*/ 187960 w 187959"/>
                <a:gd name="connsiteY0" fmla="*/ 93980 h 187960"/>
                <a:gd name="connsiteX1" fmla="*/ 93980 w 187959"/>
                <a:gd name="connsiteY1" fmla="*/ 0 h 187960"/>
                <a:gd name="connsiteX2" fmla="*/ 0 w 187959"/>
                <a:gd name="connsiteY2" fmla="*/ 93980 h 187960"/>
                <a:gd name="connsiteX3" fmla="*/ 93980 w 187959"/>
                <a:gd name="connsiteY3" fmla="*/ 187960 h 187960"/>
                <a:gd name="connsiteX4" fmla="*/ 187960 w 187959"/>
                <a:gd name="connsiteY4" fmla="*/ 93980 h 18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59" h="187960">
                  <a:moveTo>
                    <a:pt x="187960" y="93980"/>
                  </a:moveTo>
                  <a:cubicBezTo>
                    <a:pt x="187960" y="41910"/>
                    <a:pt x="146050" y="0"/>
                    <a:pt x="93980" y="0"/>
                  </a:cubicBezTo>
                  <a:cubicBezTo>
                    <a:pt x="41910" y="0"/>
                    <a:pt x="0" y="41910"/>
                    <a:pt x="0" y="93980"/>
                  </a:cubicBezTo>
                  <a:cubicBezTo>
                    <a:pt x="0" y="146050"/>
                    <a:pt x="41910" y="187960"/>
                    <a:pt x="93980" y="187960"/>
                  </a:cubicBezTo>
                  <a:cubicBezTo>
                    <a:pt x="146050" y="187960"/>
                    <a:pt x="187960" y="146050"/>
                    <a:pt x="187960" y="93980"/>
                  </a:cubicBezTo>
                  <a:close/>
                </a:path>
              </a:pathLst>
            </a:custGeom>
            <a:solidFill>
              <a:srgbClr val="F6DE00"/>
            </a:solidFill>
            <a:ln w="635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9402848C-831D-418E-9AE5-6928954DF2F2}"/>
                </a:ext>
              </a:extLst>
            </p:cNvPr>
            <p:cNvSpPr/>
            <p:nvPr/>
          </p:nvSpPr>
          <p:spPr bwMode="ltGray">
            <a:xfrm>
              <a:off x="10085069" y="1937385"/>
              <a:ext cx="172720" cy="172719"/>
            </a:xfrm>
            <a:custGeom>
              <a:avLst/>
              <a:gdLst>
                <a:gd name="connsiteX0" fmla="*/ 172720 w 172720"/>
                <a:gd name="connsiteY0" fmla="*/ 86360 h 172719"/>
                <a:gd name="connsiteX1" fmla="*/ 86361 w 172720"/>
                <a:gd name="connsiteY1" fmla="*/ 0 h 172719"/>
                <a:gd name="connsiteX2" fmla="*/ 0 w 172720"/>
                <a:gd name="connsiteY2" fmla="*/ 86360 h 172719"/>
                <a:gd name="connsiteX3" fmla="*/ 86361 w 172720"/>
                <a:gd name="connsiteY3" fmla="*/ 172720 h 172719"/>
                <a:gd name="connsiteX4" fmla="*/ 172720 w 172720"/>
                <a:gd name="connsiteY4" fmla="*/ 86360 h 1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 h="172719">
                  <a:moveTo>
                    <a:pt x="172720" y="86360"/>
                  </a:moveTo>
                  <a:cubicBezTo>
                    <a:pt x="172720" y="38735"/>
                    <a:pt x="133986" y="0"/>
                    <a:pt x="86361" y="0"/>
                  </a:cubicBezTo>
                  <a:cubicBezTo>
                    <a:pt x="38736" y="0"/>
                    <a:pt x="0" y="38735"/>
                    <a:pt x="0" y="86360"/>
                  </a:cubicBezTo>
                  <a:cubicBezTo>
                    <a:pt x="0" y="133985"/>
                    <a:pt x="38736" y="172720"/>
                    <a:pt x="86361" y="172720"/>
                  </a:cubicBezTo>
                  <a:cubicBezTo>
                    <a:pt x="133986" y="172720"/>
                    <a:pt x="172720" y="133985"/>
                    <a:pt x="172720" y="86360"/>
                  </a:cubicBezTo>
                  <a:close/>
                </a:path>
              </a:pathLst>
            </a:custGeom>
            <a:solidFill>
              <a:srgbClr val="F6DE00"/>
            </a:solidFill>
            <a:ln w="635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515E12-DDD6-4738-9614-2B325598B8D3}"/>
                </a:ext>
              </a:extLst>
            </p:cNvPr>
            <p:cNvSpPr/>
            <p:nvPr/>
          </p:nvSpPr>
          <p:spPr bwMode="ltGray">
            <a:xfrm>
              <a:off x="9731375" y="1950085"/>
              <a:ext cx="147319" cy="147319"/>
            </a:xfrm>
            <a:custGeom>
              <a:avLst/>
              <a:gdLst>
                <a:gd name="connsiteX0" fmla="*/ 147320 w 147319"/>
                <a:gd name="connsiteY0" fmla="*/ 73660 h 147319"/>
                <a:gd name="connsiteX1" fmla="*/ 73660 w 147319"/>
                <a:gd name="connsiteY1" fmla="*/ 0 h 147319"/>
                <a:gd name="connsiteX2" fmla="*/ 0 w 147319"/>
                <a:gd name="connsiteY2" fmla="*/ 73660 h 147319"/>
                <a:gd name="connsiteX3" fmla="*/ 73660 w 147319"/>
                <a:gd name="connsiteY3" fmla="*/ 147320 h 147319"/>
                <a:gd name="connsiteX4" fmla="*/ 147320 w 147319"/>
                <a:gd name="connsiteY4" fmla="*/ 73660 h 147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19" h="147319">
                  <a:moveTo>
                    <a:pt x="147320" y="73660"/>
                  </a:moveTo>
                  <a:cubicBezTo>
                    <a:pt x="147320" y="33020"/>
                    <a:pt x="114300" y="0"/>
                    <a:pt x="73660" y="0"/>
                  </a:cubicBezTo>
                  <a:cubicBezTo>
                    <a:pt x="33020" y="0"/>
                    <a:pt x="0" y="33020"/>
                    <a:pt x="0" y="73660"/>
                  </a:cubicBezTo>
                  <a:cubicBezTo>
                    <a:pt x="0" y="114300"/>
                    <a:pt x="33020" y="147320"/>
                    <a:pt x="73660" y="147320"/>
                  </a:cubicBezTo>
                  <a:cubicBezTo>
                    <a:pt x="114300" y="147320"/>
                    <a:pt x="147320" y="114300"/>
                    <a:pt x="147320" y="73660"/>
                  </a:cubicBezTo>
                  <a:close/>
                </a:path>
              </a:pathLst>
            </a:custGeom>
            <a:solidFill>
              <a:srgbClr val="F6DE00"/>
            </a:solidFill>
            <a:ln w="6350"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A3D00E8D-F817-479D-A7B9-0520869865F6}"/>
                </a:ext>
              </a:extLst>
            </p:cNvPr>
            <p:cNvSpPr/>
            <p:nvPr/>
          </p:nvSpPr>
          <p:spPr bwMode="ltGray">
            <a:xfrm>
              <a:off x="9383394" y="1967864"/>
              <a:ext cx="111760" cy="111760"/>
            </a:xfrm>
            <a:custGeom>
              <a:avLst/>
              <a:gdLst>
                <a:gd name="connsiteX0" fmla="*/ 111761 w 111760"/>
                <a:gd name="connsiteY0" fmla="*/ 55880 h 111760"/>
                <a:gd name="connsiteX1" fmla="*/ 55880 w 111760"/>
                <a:gd name="connsiteY1" fmla="*/ 0 h 111760"/>
                <a:gd name="connsiteX2" fmla="*/ 0 w 111760"/>
                <a:gd name="connsiteY2" fmla="*/ 55880 h 111760"/>
                <a:gd name="connsiteX3" fmla="*/ 55880 w 111760"/>
                <a:gd name="connsiteY3" fmla="*/ 111760 h 111760"/>
                <a:gd name="connsiteX4" fmla="*/ 111761 w 111760"/>
                <a:gd name="connsiteY4" fmla="*/ 55880 h 11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60" h="111760">
                  <a:moveTo>
                    <a:pt x="111761" y="55880"/>
                  </a:moveTo>
                  <a:cubicBezTo>
                    <a:pt x="111761" y="24765"/>
                    <a:pt x="86995" y="0"/>
                    <a:pt x="55880" y="0"/>
                  </a:cubicBezTo>
                  <a:cubicBezTo>
                    <a:pt x="24765" y="0"/>
                    <a:pt x="0" y="24765"/>
                    <a:pt x="0" y="55880"/>
                  </a:cubicBezTo>
                  <a:cubicBezTo>
                    <a:pt x="0" y="86995"/>
                    <a:pt x="24765" y="111760"/>
                    <a:pt x="55880" y="111760"/>
                  </a:cubicBezTo>
                  <a:cubicBezTo>
                    <a:pt x="86995" y="111760"/>
                    <a:pt x="111761" y="86360"/>
                    <a:pt x="111761" y="55880"/>
                  </a:cubicBezTo>
                  <a:close/>
                </a:path>
              </a:pathLst>
            </a:custGeom>
            <a:solidFill>
              <a:srgbClr val="F6DE00"/>
            </a:solidFill>
            <a:ln w="6350"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D5F475BB-844D-48D8-913B-58F0ECF5ECB4}"/>
                </a:ext>
              </a:extLst>
            </p:cNvPr>
            <p:cNvSpPr/>
            <p:nvPr/>
          </p:nvSpPr>
          <p:spPr bwMode="ltGray">
            <a:xfrm>
              <a:off x="9035415" y="1985645"/>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38100" y="0"/>
                  </a:moveTo>
                  <a:cubicBezTo>
                    <a:pt x="17145" y="0"/>
                    <a:pt x="0" y="17145"/>
                    <a:pt x="0" y="38100"/>
                  </a:cubicBezTo>
                  <a:cubicBezTo>
                    <a:pt x="0" y="59055"/>
                    <a:pt x="17145" y="76200"/>
                    <a:pt x="38100" y="76200"/>
                  </a:cubicBezTo>
                  <a:cubicBezTo>
                    <a:pt x="59055" y="76200"/>
                    <a:pt x="76200" y="59055"/>
                    <a:pt x="76200" y="38100"/>
                  </a:cubicBezTo>
                  <a:cubicBezTo>
                    <a:pt x="76200" y="17145"/>
                    <a:pt x="59055" y="0"/>
                    <a:pt x="38100" y="0"/>
                  </a:cubicBezTo>
                  <a:close/>
                </a:path>
              </a:pathLst>
            </a:custGeom>
            <a:solidFill>
              <a:srgbClr val="F6DE00"/>
            </a:solidFill>
            <a:ln w="635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16F98A02-B9E0-4B37-A1ED-D64F65824689}"/>
                </a:ext>
              </a:extLst>
            </p:cNvPr>
            <p:cNvSpPr/>
            <p:nvPr/>
          </p:nvSpPr>
          <p:spPr bwMode="ltGray">
            <a:xfrm>
              <a:off x="8684894" y="2001520"/>
              <a:ext cx="44450" cy="44450"/>
            </a:xfrm>
            <a:custGeom>
              <a:avLst/>
              <a:gdLst>
                <a:gd name="connsiteX0" fmla="*/ 44450 w 44450"/>
                <a:gd name="connsiteY0" fmla="*/ 22225 h 44450"/>
                <a:gd name="connsiteX1" fmla="*/ 22225 w 44450"/>
                <a:gd name="connsiteY1" fmla="*/ 0 h 44450"/>
                <a:gd name="connsiteX2" fmla="*/ 0 w 44450"/>
                <a:gd name="connsiteY2" fmla="*/ 22225 h 44450"/>
                <a:gd name="connsiteX3" fmla="*/ 22225 w 44450"/>
                <a:gd name="connsiteY3" fmla="*/ 44450 h 44450"/>
                <a:gd name="connsiteX4" fmla="*/ 44450 w 44450"/>
                <a:gd name="connsiteY4" fmla="*/ 22225 h 4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 h="44450">
                  <a:moveTo>
                    <a:pt x="44450" y="22225"/>
                  </a:moveTo>
                  <a:cubicBezTo>
                    <a:pt x="44450" y="10160"/>
                    <a:pt x="34925" y="0"/>
                    <a:pt x="22225" y="0"/>
                  </a:cubicBezTo>
                  <a:cubicBezTo>
                    <a:pt x="9525" y="0"/>
                    <a:pt x="0" y="9525"/>
                    <a:pt x="0" y="22225"/>
                  </a:cubicBezTo>
                  <a:cubicBezTo>
                    <a:pt x="0" y="34290"/>
                    <a:pt x="9525" y="44450"/>
                    <a:pt x="22225" y="44450"/>
                  </a:cubicBezTo>
                  <a:cubicBezTo>
                    <a:pt x="34925" y="44450"/>
                    <a:pt x="44450" y="34290"/>
                    <a:pt x="44450" y="22225"/>
                  </a:cubicBezTo>
                  <a:close/>
                </a:path>
              </a:pathLst>
            </a:custGeom>
            <a:solidFill>
              <a:srgbClr val="F6DE00"/>
            </a:solidFill>
            <a:ln w="635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EC53E61D-DD12-48FD-A6D3-A98D823421C6}"/>
                </a:ext>
              </a:extLst>
            </p:cNvPr>
            <p:cNvSpPr/>
            <p:nvPr/>
          </p:nvSpPr>
          <p:spPr bwMode="ltGray">
            <a:xfrm>
              <a:off x="11908790" y="1565275"/>
              <a:ext cx="184150" cy="184150"/>
            </a:xfrm>
            <a:custGeom>
              <a:avLst/>
              <a:gdLst>
                <a:gd name="connsiteX0" fmla="*/ 92075 w 184150"/>
                <a:gd name="connsiteY0" fmla="*/ 0 h 184150"/>
                <a:gd name="connsiteX1" fmla="*/ 0 w 184150"/>
                <a:gd name="connsiteY1" fmla="*/ 92075 h 184150"/>
                <a:gd name="connsiteX2" fmla="*/ 92075 w 184150"/>
                <a:gd name="connsiteY2" fmla="*/ 184150 h 184150"/>
                <a:gd name="connsiteX3" fmla="*/ 184150 w 184150"/>
                <a:gd name="connsiteY3" fmla="*/ 92075 h 184150"/>
                <a:gd name="connsiteX4" fmla="*/ 92075 w 184150"/>
                <a:gd name="connsiteY4" fmla="*/ 0 h 18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184150">
                  <a:moveTo>
                    <a:pt x="92075" y="0"/>
                  </a:moveTo>
                  <a:cubicBezTo>
                    <a:pt x="41275" y="0"/>
                    <a:pt x="0" y="41275"/>
                    <a:pt x="0" y="92075"/>
                  </a:cubicBezTo>
                  <a:cubicBezTo>
                    <a:pt x="0" y="142875"/>
                    <a:pt x="41275" y="184150"/>
                    <a:pt x="92075" y="184150"/>
                  </a:cubicBezTo>
                  <a:cubicBezTo>
                    <a:pt x="142875" y="184150"/>
                    <a:pt x="184150" y="142875"/>
                    <a:pt x="184150" y="92075"/>
                  </a:cubicBezTo>
                  <a:cubicBezTo>
                    <a:pt x="184150" y="41275"/>
                    <a:pt x="142875" y="0"/>
                    <a:pt x="92075" y="0"/>
                  </a:cubicBezTo>
                  <a:close/>
                </a:path>
              </a:pathLst>
            </a:custGeom>
            <a:solidFill>
              <a:srgbClr val="F6DE00"/>
            </a:solidFill>
            <a:ln w="635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CA6464F5-E098-430D-B663-863EB2FB1059}"/>
                </a:ext>
              </a:extLst>
            </p:cNvPr>
            <p:cNvSpPr/>
            <p:nvPr/>
          </p:nvSpPr>
          <p:spPr bwMode="ltGray">
            <a:xfrm>
              <a:off x="11525250" y="1548764"/>
              <a:ext cx="218440" cy="218439"/>
            </a:xfrm>
            <a:custGeom>
              <a:avLst/>
              <a:gdLst>
                <a:gd name="connsiteX0" fmla="*/ 109220 w 218440"/>
                <a:gd name="connsiteY0" fmla="*/ 0 h 218439"/>
                <a:gd name="connsiteX1" fmla="*/ 0 w 218440"/>
                <a:gd name="connsiteY1" fmla="*/ 109220 h 218439"/>
                <a:gd name="connsiteX2" fmla="*/ 109220 w 218440"/>
                <a:gd name="connsiteY2" fmla="*/ 218440 h 218439"/>
                <a:gd name="connsiteX3" fmla="*/ 218440 w 218440"/>
                <a:gd name="connsiteY3" fmla="*/ 109220 h 218439"/>
                <a:gd name="connsiteX4" fmla="*/ 109220 w 218440"/>
                <a:gd name="connsiteY4" fmla="*/ 0 h 21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440" h="218439">
                  <a:moveTo>
                    <a:pt x="109220" y="0"/>
                  </a:moveTo>
                  <a:cubicBezTo>
                    <a:pt x="48895" y="0"/>
                    <a:pt x="0" y="48895"/>
                    <a:pt x="0" y="109220"/>
                  </a:cubicBezTo>
                  <a:cubicBezTo>
                    <a:pt x="0" y="169545"/>
                    <a:pt x="48895" y="218440"/>
                    <a:pt x="109220" y="218440"/>
                  </a:cubicBezTo>
                  <a:cubicBezTo>
                    <a:pt x="169545" y="218440"/>
                    <a:pt x="218440" y="169545"/>
                    <a:pt x="218440" y="109220"/>
                  </a:cubicBezTo>
                  <a:cubicBezTo>
                    <a:pt x="218440" y="48895"/>
                    <a:pt x="169545" y="0"/>
                    <a:pt x="109220" y="0"/>
                  </a:cubicBezTo>
                  <a:close/>
                </a:path>
              </a:pathLst>
            </a:custGeom>
            <a:solidFill>
              <a:srgbClr val="F6DE00"/>
            </a:solidFill>
            <a:ln w="635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D39A478D-29D7-4F8F-A12B-493B444493B6}"/>
                </a:ext>
              </a:extLst>
            </p:cNvPr>
            <p:cNvSpPr/>
            <p:nvPr/>
          </p:nvSpPr>
          <p:spPr bwMode="ltGray">
            <a:xfrm>
              <a:off x="11148694" y="1537969"/>
              <a:ext cx="240030" cy="240030"/>
            </a:xfrm>
            <a:custGeom>
              <a:avLst/>
              <a:gdLst>
                <a:gd name="connsiteX0" fmla="*/ 120015 w 240030"/>
                <a:gd name="connsiteY0" fmla="*/ 0 h 240030"/>
                <a:gd name="connsiteX1" fmla="*/ 0 w 240030"/>
                <a:gd name="connsiteY1" fmla="*/ 120015 h 240030"/>
                <a:gd name="connsiteX2" fmla="*/ 120015 w 240030"/>
                <a:gd name="connsiteY2" fmla="*/ 240030 h 240030"/>
                <a:gd name="connsiteX3" fmla="*/ 240030 w 240030"/>
                <a:gd name="connsiteY3" fmla="*/ 120015 h 240030"/>
                <a:gd name="connsiteX4" fmla="*/ 120015 w 240030"/>
                <a:gd name="connsiteY4" fmla="*/ 0 h 24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30">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340"/>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7A224174-291E-4ED4-8D0A-A19EA301E167}"/>
                </a:ext>
              </a:extLst>
            </p:cNvPr>
            <p:cNvSpPr/>
            <p:nvPr/>
          </p:nvSpPr>
          <p:spPr bwMode="ltGray">
            <a:xfrm>
              <a:off x="10778490" y="1533525"/>
              <a:ext cx="248919" cy="248920"/>
            </a:xfrm>
            <a:custGeom>
              <a:avLst/>
              <a:gdLst>
                <a:gd name="connsiteX0" fmla="*/ 248920 w 248919"/>
                <a:gd name="connsiteY0" fmla="*/ 124460 h 248920"/>
                <a:gd name="connsiteX1" fmla="*/ 124460 w 248919"/>
                <a:gd name="connsiteY1" fmla="*/ 248920 h 248920"/>
                <a:gd name="connsiteX2" fmla="*/ 0 w 248919"/>
                <a:gd name="connsiteY2" fmla="*/ 124460 h 248920"/>
                <a:gd name="connsiteX3" fmla="*/ 124460 w 248919"/>
                <a:gd name="connsiteY3" fmla="*/ 0 h 248920"/>
                <a:gd name="connsiteX4" fmla="*/ 248920 w 248919"/>
                <a:gd name="connsiteY4" fmla="*/ 124460 h 248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19" h="248920">
                  <a:moveTo>
                    <a:pt x="248920" y="124460"/>
                  </a:moveTo>
                  <a:cubicBezTo>
                    <a:pt x="248920" y="193197"/>
                    <a:pt x="193197" y="248920"/>
                    <a:pt x="124460" y="248920"/>
                  </a:cubicBezTo>
                  <a:cubicBezTo>
                    <a:pt x="55722" y="248920"/>
                    <a:pt x="0" y="193198"/>
                    <a:pt x="0" y="124460"/>
                  </a:cubicBezTo>
                  <a:cubicBezTo>
                    <a:pt x="0" y="55723"/>
                    <a:pt x="55723" y="0"/>
                    <a:pt x="124460" y="0"/>
                  </a:cubicBezTo>
                  <a:cubicBezTo>
                    <a:pt x="193198" y="0"/>
                    <a:pt x="248920" y="55723"/>
                    <a:pt x="248920" y="124460"/>
                  </a:cubicBezTo>
                  <a:close/>
                </a:path>
              </a:pathLst>
            </a:custGeom>
            <a:solidFill>
              <a:srgbClr val="F6DE00"/>
            </a:solidFill>
            <a:ln w="635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98023EEE-0ADA-46C3-A3F6-98B5E8D74F41}"/>
                </a:ext>
              </a:extLst>
            </p:cNvPr>
            <p:cNvSpPr/>
            <p:nvPr/>
          </p:nvSpPr>
          <p:spPr bwMode="ltGray">
            <a:xfrm>
              <a:off x="10414000" y="1534795"/>
              <a:ext cx="246380" cy="246379"/>
            </a:xfrm>
            <a:custGeom>
              <a:avLst/>
              <a:gdLst>
                <a:gd name="connsiteX0" fmla="*/ 246380 w 246380"/>
                <a:gd name="connsiteY0" fmla="*/ 123190 h 246379"/>
                <a:gd name="connsiteX1" fmla="*/ 123190 w 246380"/>
                <a:gd name="connsiteY1" fmla="*/ 246380 h 246379"/>
                <a:gd name="connsiteX2" fmla="*/ 0 w 246380"/>
                <a:gd name="connsiteY2" fmla="*/ 123190 h 246379"/>
                <a:gd name="connsiteX3" fmla="*/ 123190 w 246380"/>
                <a:gd name="connsiteY3" fmla="*/ 0 h 246379"/>
                <a:gd name="connsiteX4" fmla="*/ 246380 w 246380"/>
                <a:gd name="connsiteY4" fmla="*/ 123190 h 246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79">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4AC5B724-75FB-40BB-847F-E66654CB8BF0}"/>
                </a:ext>
              </a:extLst>
            </p:cNvPr>
            <p:cNvSpPr/>
            <p:nvPr/>
          </p:nvSpPr>
          <p:spPr bwMode="ltGray">
            <a:xfrm>
              <a:off x="10055859" y="1543050"/>
              <a:ext cx="229870" cy="229870"/>
            </a:xfrm>
            <a:custGeom>
              <a:avLst/>
              <a:gdLst>
                <a:gd name="connsiteX0" fmla="*/ 114935 w 229870"/>
                <a:gd name="connsiteY0" fmla="*/ 0 h 229870"/>
                <a:gd name="connsiteX1" fmla="*/ 0 w 229870"/>
                <a:gd name="connsiteY1" fmla="*/ 114935 h 229870"/>
                <a:gd name="connsiteX2" fmla="*/ 114935 w 229870"/>
                <a:gd name="connsiteY2" fmla="*/ 229870 h 229870"/>
                <a:gd name="connsiteX3" fmla="*/ 229870 w 229870"/>
                <a:gd name="connsiteY3" fmla="*/ 114935 h 229870"/>
                <a:gd name="connsiteX4" fmla="*/ 114935 w 229870"/>
                <a:gd name="connsiteY4" fmla="*/ 0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70" h="229870">
                  <a:moveTo>
                    <a:pt x="114935" y="0"/>
                  </a:moveTo>
                  <a:cubicBezTo>
                    <a:pt x="51435" y="0"/>
                    <a:pt x="0" y="51435"/>
                    <a:pt x="0" y="114935"/>
                  </a:cubicBezTo>
                  <a:cubicBezTo>
                    <a:pt x="0" y="178435"/>
                    <a:pt x="51435" y="229870"/>
                    <a:pt x="114935" y="229870"/>
                  </a:cubicBezTo>
                  <a:cubicBezTo>
                    <a:pt x="178435" y="229870"/>
                    <a:pt x="229870" y="178435"/>
                    <a:pt x="229870" y="114935"/>
                  </a:cubicBezTo>
                  <a:cubicBezTo>
                    <a:pt x="229870" y="51435"/>
                    <a:pt x="178435" y="0"/>
                    <a:pt x="114935" y="0"/>
                  </a:cubicBezTo>
                  <a:close/>
                </a:path>
              </a:pathLst>
            </a:custGeom>
            <a:solidFill>
              <a:srgbClr val="F6DE00"/>
            </a:solidFill>
            <a:ln w="635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9D86DA6B-46E5-4C85-878A-007845B39C9E}"/>
                </a:ext>
              </a:extLst>
            </p:cNvPr>
            <p:cNvSpPr/>
            <p:nvPr/>
          </p:nvSpPr>
          <p:spPr bwMode="ltGray">
            <a:xfrm>
              <a:off x="9705340" y="1557655"/>
              <a:ext cx="199390" cy="199390"/>
            </a:xfrm>
            <a:custGeom>
              <a:avLst/>
              <a:gdLst>
                <a:gd name="connsiteX0" fmla="*/ 99695 w 199390"/>
                <a:gd name="connsiteY0" fmla="*/ 0 h 199390"/>
                <a:gd name="connsiteX1" fmla="*/ 0 w 199390"/>
                <a:gd name="connsiteY1" fmla="*/ 99695 h 199390"/>
                <a:gd name="connsiteX2" fmla="*/ 99695 w 199390"/>
                <a:gd name="connsiteY2" fmla="*/ 199390 h 199390"/>
                <a:gd name="connsiteX3" fmla="*/ 199390 w 199390"/>
                <a:gd name="connsiteY3" fmla="*/ 99695 h 199390"/>
                <a:gd name="connsiteX4" fmla="*/ 99695 w 199390"/>
                <a:gd name="connsiteY4" fmla="*/ 0 h 199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90" h="199390">
                  <a:moveTo>
                    <a:pt x="99695" y="0"/>
                  </a:moveTo>
                  <a:cubicBezTo>
                    <a:pt x="44450" y="0"/>
                    <a:pt x="0" y="44450"/>
                    <a:pt x="0" y="99695"/>
                  </a:cubicBezTo>
                  <a:cubicBezTo>
                    <a:pt x="0" y="154940"/>
                    <a:pt x="44450" y="199390"/>
                    <a:pt x="99695" y="199390"/>
                  </a:cubicBezTo>
                  <a:cubicBezTo>
                    <a:pt x="154940" y="199390"/>
                    <a:pt x="199390" y="154940"/>
                    <a:pt x="199390" y="99695"/>
                  </a:cubicBezTo>
                  <a:cubicBezTo>
                    <a:pt x="199390" y="44450"/>
                    <a:pt x="154940" y="0"/>
                    <a:pt x="99695" y="0"/>
                  </a:cubicBezTo>
                  <a:close/>
                </a:path>
              </a:pathLst>
            </a:custGeom>
            <a:solidFill>
              <a:srgbClr val="F6DE00"/>
            </a:solidFill>
            <a:ln w="6350"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47FD085-4CFF-4E0F-99AE-63E2CB269C3C}"/>
                </a:ext>
              </a:extLst>
            </p:cNvPr>
            <p:cNvSpPr/>
            <p:nvPr/>
          </p:nvSpPr>
          <p:spPr bwMode="ltGray">
            <a:xfrm>
              <a:off x="9358630" y="1577339"/>
              <a:ext cx="161289" cy="161289"/>
            </a:xfrm>
            <a:custGeom>
              <a:avLst/>
              <a:gdLst>
                <a:gd name="connsiteX0" fmla="*/ 161289 w 161289"/>
                <a:gd name="connsiteY0" fmla="*/ 80645 h 161289"/>
                <a:gd name="connsiteX1" fmla="*/ 80645 w 161289"/>
                <a:gd name="connsiteY1" fmla="*/ 0 h 161289"/>
                <a:gd name="connsiteX2" fmla="*/ 0 w 161289"/>
                <a:gd name="connsiteY2" fmla="*/ 80645 h 161289"/>
                <a:gd name="connsiteX3" fmla="*/ 80645 w 161289"/>
                <a:gd name="connsiteY3" fmla="*/ 161290 h 161289"/>
                <a:gd name="connsiteX4" fmla="*/ 161289 w 161289"/>
                <a:gd name="connsiteY4" fmla="*/ 80645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161289" y="80645"/>
                  </a:moveTo>
                  <a:cubicBezTo>
                    <a:pt x="161289" y="36195"/>
                    <a:pt x="125095" y="0"/>
                    <a:pt x="80645" y="0"/>
                  </a:cubicBezTo>
                  <a:cubicBezTo>
                    <a:pt x="36195" y="0"/>
                    <a:pt x="0" y="36195"/>
                    <a:pt x="0" y="80645"/>
                  </a:cubicBezTo>
                  <a:cubicBezTo>
                    <a:pt x="0" y="125095"/>
                    <a:pt x="36195" y="161290"/>
                    <a:pt x="80645" y="161290"/>
                  </a:cubicBezTo>
                  <a:cubicBezTo>
                    <a:pt x="125095" y="160655"/>
                    <a:pt x="161289" y="125095"/>
                    <a:pt x="161289" y="80645"/>
                  </a:cubicBezTo>
                  <a:close/>
                </a:path>
              </a:pathLst>
            </a:custGeom>
            <a:solidFill>
              <a:srgbClr val="F6DE00"/>
            </a:solidFill>
            <a:ln w="6350"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F708F0EA-E897-4113-9D30-57078230777B}"/>
                </a:ext>
              </a:extLst>
            </p:cNvPr>
            <p:cNvSpPr/>
            <p:nvPr/>
          </p:nvSpPr>
          <p:spPr bwMode="ltGray">
            <a:xfrm>
              <a:off x="9015730" y="1600200"/>
              <a:ext cx="115569" cy="115570"/>
            </a:xfrm>
            <a:custGeom>
              <a:avLst/>
              <a:gdLst>
                <a:gd name="connsiteX0" fmla="*/ 115570 w 115569"/>
                <a:gd name="connsiteY0" fmla="*/ 57785 h 115570"/>
                <a:gd name="connsiteX1" fmla="*/ 57785 w 115569"/>
                <a:gd name="connsiteY1" fmla="*/ 0 h 115570"/>
                <a:gd name="connsiteX2" fmla="*/ 0 w 115569"/>
                <a:gd name="connsiteY2" fmla="*/ 57785 h 115570"/>
                <a:gd name="connsiteX3" fmla="*/ 57785 w 115569"/>
                <a:gd name="connsiteY3" fmla="*/ 115570 h 115570"/>
                <a:gd name="connsiteX4" fmla="*/ 115570 w 115569"/>
                <a:gd name="connsiteY4" fmla="*/ 57785 h 115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69" h="115570">
                  <a:moveTo>
                    <a:pt x="115570" y="57785"/>
                  </a:moveTo>
                  <a:cubicBezTo>
                    <a:pt x="115570" y="26035"/>
                    <a:pt x="89535" y="0"/>
                    <a:pt x="57785" y="0"/>
                  </a:cubicBezTo>
                  <a:cubicBezTo>
                    <a:pt x="26035" y="0"/>
                    <a:pt x="0" y="26035"/>
                    <a:pt x="0" y="57785"/>
                  </a:cubicBezTo>
                  <a:cubicBezTo>
                    <a:pt x="0" y="89535"/>
                    <a:pt x="26035" y="115570"/>
                    <a:pt x="57785" y="115570"/>
                  </a:cubicBezTo>
                  <a:cubicBezTo>
                    <a:pt x="89535" y="115570"/>
                    <a:pt x="115570" y="89535"/>
                    <a:pt x="115570" y="57785"/>
                  </a:cubicBezTo>
                  <a:close/>
                </a:path>
              </a:pathLst>
            </a:custGeom>
            <a:solidFill>
              <a:srgbClr val="F6DE00"/>
            </a:solidFill>
            <a:ln w="6350"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C4193818-9A4F-49EE-86AE-8B50D5444870}"/>
                </a:ext>
              </a:extLst>
            </p:cNvPr>
            <p:cNvSpPr/>
            <p:nvPr/>
          </p:nvSpPr>
          <p:spPr bwMode="ltGray">
            <a:xfrm>
              <a:off x="8672195" y="1622425"/>
              <a:ext cx="71119" cy="71120"/>
            </a:xfrm>
            <a:custGeom>
              <a:avLst/>
              <a:gdLst>
                <a:gd name="connsiteX0" fmla="*/ 71120 w 71119"/>
                <a:gd name="connsiteY0" fmla="*/ 35560 h 71120"/>
                <a:gd name="connsiteX1" fmla="*/ 35560 w 71119"/>
                <a:gd name="connsiteY1" fmla="*/ 71120 h 71120"/>
                <a:gd name="connsiteX2" fmla="*/ 0 w 71119"/>
                <a:gd name="connsiteY2" fmla="*/ 35560 h 71120"/>
                <a:gd name="connsiteX3" fmla="*/ 35560 w 71119"/>
                <a:gd name="connsiteY3" fmla="*/ 0 h 71120"/>
                <a:gd name="connsiteX4" fmla="*/ 71120 w 71119"/>
                <a:gd name="connsiteY4" fmla="*/ 35560 h 7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19" h="71120">
                  <a:moveTo>
                    <a:pt x="71120" y="35560"/>
                  </a:moveTo>
                  <a:cubicBezTo>
                    <a:pt x="71120" y="55199"/>
                    <a:pt x="55199" y="71120"/>
                    <a:pt x="35560" y="71120"/>
                  </a:cubicBezTo>
                  <a:cubicBezTo>
                    <a:pt x="15921" y="71120"/>
                    <a:pt x="0" y="55199"/>
                    <a:pt x="0" y="35560"/>
                  </a:cubicBezTo>
                  <a:cubicBezTo>
                    <a:pt x="0" y="15921"/>
                    <a:pt x="15921" y="0"/>
                    <a:pt x="35560" y="0"/>
                  </a:cubicBezTo>
                  <a:cubicBezTo>
                    <a:pt x="55199" y="0"/>
                    <a:pt x="71120" y="15921"/>
                    <a:pt x="71120" y="35560"/>
                  </a:cubicBezTo>
                  <a:close/>
                </a:path>
              </a:pathLst>
            </a:custGeom>
            <a:solidFill>
              <a:srgbClr val="F6DE00"/>
            </a:solidFill>
            <a:ln w="6350"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896D36B1-10CF-4534-8667-82FB49B857E5}"/>
                </a:ext>
              </a:extLst>
            </p:cNvPr>
            <p:cNvSpPr/>
            <p:nvPr/>
          </p:nvSpPr>
          <p:spPr bwMode="ltGray">
            <a:xfrm>
              <a:off x="8323580" y="1639570"/>
              <a:ext cx="36829" cy="36829"/>
            </a:xfrm>
            <a:custGeom>
              <a:avLst/>
              <a:gdLst>
                <a:gd name="connsiteX0" fmla="*/ 0 w 36829"/>
                <a:gd name="connsiteY0" fmla="*/ 18415 h 36829"/>
                <a:gd name="connsiteX1" fmla="*/ 18414 w 36829"/>
                <a:gd name="connsiteY1" fmla="*/ 36830 h 36829"/>
                <a:gd name="connsiteX2" fmla="*/ 36830 w 36829"/>
                <a:gd name="connsiteY2" fmla="*/ 18415 h 36829"/>
                <a:gd name="connsiteX3" fmla="*/ 18414 w 36829"/>
                <a:gd name="connsiteY3" fmla="*/ 0 h 36829"/>
                <a:gd name="connsiteX4" fmla="*/ 0 w 36829"/>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29" h="36829">
                  <a:moveTo>
                    <a:pt x="0" y="18415"/>
                  </a:moveTo>
                  <a:cubicBezTo>
                    <a:pt x="0" y="28575"/>
                    <a:pt x="8255" y="36830"/>
                    <a:pt x="18414" y="36830"/>
                  </a:cubicBezTo>
                  <a:cubicBezTo>
                    <a:pt x="28575" y="36830"/>
                    <a:pt x="36830" y="28575"/>
                    <a:pt x="36830" y="18415"/>
                  </a:cubicBezTo>
                  <a:cubicBezTo>
                    <a:pt x="36830" y="8255"/>
                    <a:pt x="28575" y="0"/>
                    <a:pt x="18414" y="0"/>
                  </a:cubicBezTo>
                  <a:cubicBezTo>
                    <a:pt x="7620" y="0"/>
                    <a:pt x="0" y="8255"/>
                    <a:pt x="0" y="18415"/>
                  </a:cubicBezTo>
                  <a:close/>
                </a:path>
              </a:pathLst>
            </a:custGeom>
            <a:solidFill>
              <a:srgbClr val="F6DE00"/>
            </a:solidFill>
            <a:ln w="6350"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7895398C-1BAA-4843-8417-1D1B257C949F}"/>
                </a:ext>
              </a:extLst>
            </p:cNvPr>
            <p:cNvSpPr/>
            <p:nvPr/>
          </p:nvSpPr>
          <p:spPr bwMode="ltGray">
            <a:xfrm>
              <a:off x="11886565" y="1177289"/>
              <a:ext cx="228600" cy="228600"/>
            </a:xfrm>
            <a:custGeom>
              <a:avLst/>
              <a:gdLst>
                <a:gd name="connsiteX0" fmla="*/ 114300 w 228600"/>
                <a:gd name="connsiteY0" fmla="*/ 0 h 228600"/>
                <a:gd name="connsiteX1" fmla="*/ 0 w 228600"/>
                <a:gd name="connsiteY1" fmla="*/ 114300 h 228600"/>
                <a:gd name="connsiteX2" fmla="*/ 114300 w 228600"/>
                <a:gd name="connsiteY2" fmla="*/ 228600 h 228600"/>
                <a:gd name="connsiteX3" fmla="*/ 228600 w 228600"/>
                <a:gd name="connsiteY3" fmla="*/ 114300 h 228600"/>
                <a:gd name="connsiteX4" fmla="*/ 114300 w 228600"/>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F6DE00"/>
            </a:solidFill>
            <a:ln w="6350"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44A0D149-ADA7-4189-AC39-3EB0D697E97C}"/>
                </a:ext>
              </a:extLst>
            </p:cNvPr>
            <p:cNvSpPr/>
            <p:nvPr/>
          </p:nvSpPr>
          <p:spPr bwMode="ltGray">
            <a:xfrm>
              <a:off x="11503660" y="1160780"/>
              <a:ext cx="261619" cy="261619"/>
            </a:xfrm>
            <a:custGeom>
              <a:avLst/>
              <a:gdLst>
                <a:gd name="connsiteX0" fmla="*/ 261620 w 261619"/>
                <a:gd name="connsiteY0" fmla="*/ 130810 h 261619"/>
                <a:gd name="connsiteX1" fmla="*/ 130810 w 261619"/>
                <a:gd name="connsiteY1" fmla="*/ 261620 h 261619"/>
                <a:gd name="connsiteX2" fmla="*/ 1 w 261619"/>
                <a:gd name="connsiteY2" fmla="*/ 130810 h 261619"/>
                <a:gd name="connsiteX3" fmla="*/ 130810 w 261619"/>
                <a:gd name="connsiteY3" fmla="*/ 0 h 261619"/>
                <a:gd name="connsiteX4" fmla="*/ 261620 w 261619"/>
                <a:gd name="connsiteY4" fmla="*/ 13081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261620" y="130810"/>
                  </a:moveTo>
                  <a:cubicBezTo>
                    <a:pt x="261620" y="203054"/>
                    <a:pt x="203055" y="261620"/>
                    <a:pt x="130810" y="261620"/>
                  </a:cubicBezTo>
                  <a:cubicBezTo>
                    <a:pt x="58566" y="261620"/>
                    <a:pt x="1" y="203054"/>
                    <a:pt x="1" y="130810"/>
                  </a:cubicBezTo>
                  <a:cubicBezTo>
                    <a:pt x="1" y="58566"/>
                    <a:pt x="58566" y="0"/>
                    <a:pt x="130810" y="0"/>
                  </a:cubicBezTo>
                  <a:cubicBezTo>
                    <a:pt x="203055" y="0"/>
                    <a:pt x="261620" y="58566"/>
                    <a:pt x="261620" y="130810"/>
                  </a:cubicBezTo>
                  <a:close/>
                </a:path>
              </a:pathLst>
            </a:custGeom>
            <a:solidFill>
              <a:srgbClr val="F6DE00"/>
            </a:solidFill>
            <a:ln w="6350"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193BC918-FD9B-4CF8-963F-1BABD52E9B0B}"/>
                </a:ext>
              </a:extLst>
            </p:cNvPr>
            <p:cNvSpPr/>
            <p:nvPr/>
          </p:nvSpPr>
          <p:spPr bwMode="ltGray">
            <a:xfrm>
              <a:off x="11129644" y="1152525"/>
              <a:ext cx="278135" cy="278130"/>
            </a:xfrm>
            <a:custGeom>
              <a:avLst/>
              <a:gdLst>
                <a:gd name="connsiteX0" fmla="*/ 139065 w 278135"/>
                <a:gd name="connsiteY0" fmla="*/ 0 h 278130"/>
                <a:gd name="connsiteX1" fmla="*/ 0 w 278135"/>
                <a:gd name="connsiteY1" fmla="*/ 139065 h 278130"/>
                <a:gd name="connsiteX2" fmla="*/ 139065 w 278135"/>
                <a:gd name="connsiteY2" fmla="*/ 278130 h 278130"/>
                <a:gd name="connsiteX3" fmla="*/ 278130 w 278135"/>
                <a:gd name="connsiteY3" fmla="*/ 139065 h 278130"/>
                <a:gd name="connsiteX4" fmla="*/ 139065 w 278135"/>
                <a:gd name="connsiteY4" fmla="*/ 0 h 278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5" h="278130">
                  <a:moveTo>
                    <a:pt x="139065" y="0"/>
                  </a:moveTo>
                  <a:cubicBezTo>
                    <a:pt x="62230" y="0"/>
                    <a:pt x="0" y="62230"/>
                    <a:pt x="0" y="139065"/>
                  </a:cubicBezTo>
                  <a:cubicBezTo>
                    <a:pt x="0" y="215900"/>
                    <a:pt x="62230" y="278130"/>
                    <a:pt x="139065" y="278130"/>
                  </a:cubicBezTo>
                  <a:cubicBezTo>
                    <a:pt x="215900" y="278130"/>
                    <a:pt x="278130" y="215900"/>
                    <a:pt x="278130" y="139065"/>
                  </a:cubicBezTo>
                  <a:cubicBezTo>
                    <a:pt x="278765" y="62230"/>
                    <a:pt x="215900" y="0"/>
                    <a:pt x="139065" y="0"/>
                  </a:cubicBezTo>
                  <a:close/>
                </a:path>
              </a:pathLst>
            </a:custGeom>
            <a:solidFill>
              <a:srgbClr val="F6DE00"/>
            </a:solidFill>
            <a:ln w="6350"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A8D48332-A0B4-45D6-9D6A-DC12D998CB91}"/>
                </a:ext>
              </a:extLst>
            </p:cNvPr>
            <p:cNvSpPr/>
            <p:nvPr/>
          </p:nvSpPr>
          <p:spPr bwMode="ltGray">
            <a:xfrm>
              <a:off x="10760075" y="114871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3" y="285750"/>
                    <a:pt x="142875" y="285750"/>
                  </a:cubicBezTo>
                  <a:cubicBezTo>
                    <a:pt x="63967" y="285750"/>
                    <a:pt x="0" y="221783"/>
                    <a:pt x="0" y="142875"/>
                  </a:cubicBezTo>
                  <a:cubicBezTo>
                    <a:pt x="0" y="63967"/>
                    <a:pt x="63967" y="0"/>
                    <a:pt x="142875" y="0"/>
                  </a:cubicBezTo>
                  <a:cubicBezTo>
                    <a:pt x="221783" y="0"/>
                    <a:pt x="285750" y="63967"/>
                    <a:pt x="285750" y="142875"/>
                  </a:cubicBezTo>
                  <a:close/>
                </a:path>
              </a:pathLst>
            </a:custGeom>
            <a:solidFill>
              <a:srgbClr val="F6DE00"/>
            </a:solidFill>
            <a:ln w="6350"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470D92F2-11AE-4CE1-BCBE-7AD7C6576495}"/>
                </a:ext>
              </a:extLst>
            </p:cNvPr>
            <p:cNvSpPr/>
            <p:nvPr/>
          </p:nvSpPr>
          <p:spPr bwMode="ltGray">
            <a:xfrm>
              <a:off x="10395585" y="114998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1C949343-06F2-4E64-A314-F03F91D898A6}"/>
                </a:ext>
              </a:extLst>
            </p:cNvPr>
            <p:cNvSpPr/>
            <p:nvPr/>
          </p:nvSpPr>
          <p:spPr bwMode="ltGray">
            <a:xfrm>
              <a:off x="10033634" y="1155064"/>
              <a:ext cx="274320" cy="274320"/>
            </a:xfrm>
            <a:custGeom>
              <a:avLst/>
              <a:gdLst>
                <a:gd name="connsiteX0" fmla="*/ 137160 w 274320"/>
                <a:gd name="connsiteY0" fmla="*/ 0 h 274320"/>
                <a:gd name="connsiteX1" fmla="*/ 0 w 274320"/>
                <a:gd name="connsiteY1" fmla="*/ 137160 h 274320"/>
                <a:gd name="connsiteX2" fmla="*/ 137160 w 274320"/>
                <a:gd name="connsiteY2" fmla="*/ 274320 h 274320"/>
                <a:gd name="connsiteX3" fmla="*/ 274320 w 274320"/>
                <a:gd name="connsiteY3" fmla="*/ 137160 h 274320"/>
                <a:gd name="connsiteX4" fmla="*/ 137160 w 274320"/>
                <a:gd name="connsiteY4" fmla="*/ 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 h="274320">
                  <a:moveTo>
                    <a:pt x="137160" y="0"/>
                  </a:moveTo>
                  <a:cubicBezTo>
                    <a:pt x="61595" y="0"/>
                    <a:pt x="0" y="60960"/>
                    <a:pt x="0" y="137160"/>
                  </a:cubicBezTo>
                  <a:cubicBezTo>
                    <a:pt x="0" y="213360"/>
                    <a:pt x="60960" y="274320"/>
                    <a:pt x="137160" y="274320"/>
                  </a:cubicBezTo>
                  <a:cubicBezTo>
                    <a:pt x="212725" y="274320"/>
                    <a:pt x="274320" y="213360"/>
                    <a:pt x="274320" y="137160"/>
                  </a:cubicBezTo>
                  <a:cubicBezTo>
                    <a:pt x="274320" y="60960"/>
                    <a:pt x="213360" y="0"/>
                    <a:pt x="137160" y="0"/>
                  </a:cubicBezTo>
                  <a:close/>
                </a:path>
              </a:pathLst>
            </a:custGeom>
            <a:solidFill>
              <a:srgbClr val="F6DE00"/>
            </a:solidFill>
            <a:ln w="6350"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9F80CCF0-BCC4-488B-A27A-05A46395DCD6}"/>
                </a:ext>
              </a:extLst>
            </p:cNvPr>
            <p:cNvSpPr/>
            <p:nvPr/>
          </p:nvSpPr>
          <p:spPr bwMode="ltGray">
            <a:xfrm>
              <a:off x="9681844" y="1168400"/>
              <a:ext cx="246380" cy="246380"/>
            </a:xfrm>
            <a:custGeom>
              <a:avLst/>
              <a:gdLst>
                <a:gd name="connsiteX0" fmla="*/ 246380 w 246380"/>
                <a:gd name="connsiteY0" fmla="*/ 123190 h 246380"/>
                <a:gd name="connsiteX1" fmla="*/ 123190 w 246380"/>
                <a:gd name="connsiteY1" fmla="*/ 246380 h 246380"/>
                <a:gd name="connsiteX2" fmla="*/ 0 w 246380"/>
                <a:gd name="connsiteY2" fmla="*/ 123190 h 246380"/>
                <a:gd name="connsiteX3" fmla="*/ 123190 w 246380"/>
                <a:gd name="connsiteY3" fmla="*/ 0 h 246380"/>
                <a:gd name="connsiteX4" fmla="*/ 246380 w 246380"/>
                <a:gd name="connsiteY4" fmla="*/ 123190 h 24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380" h="246380">
                  <a:moveTo>
                    <a:pt x="246380" y="123190"/>
                  </a:moveTo>
                  <a:cubicBezTo>
                    <a:pt x="246380" y="191226"/>
                    <a:pt x="191226" y="246380"/>
                    <a:pt x="123190" y="246380"/>
                  </a:cubicBezTo>
                  <a:cubicBezTo>
                    <a:pt x="55154" y="246380"/>
                    <a:pt x="0" y="191226"/>
                    <a:pt x="0" y="123190"/>
                  </a:cubicBezTo>
                  <a:cubicBezTo>
                    <a:pt x="0" y="55154"/>
                    <a:pt x="55154" y="0"/>
                    <a:pt x="123190" y="0"/>
                  </a:cubicBezTo>
                  <a:cubicBezTo>
                    <a:pt x="191226" y="0"/>
                    <a:pt x="246380" y="55154"/>
                    <a:pt x="246380" y="123190"/>
                  </a:cubicBezTo>
                  <a:close/>
                </a:path>
              </a:pathLst>
            </a:custGeom>
            <a:solidFill>
              <a:srgbClr val="F6DE00"/>
            </a:solidFill>
            <a:ln w="6350"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D3FAC197-5E86-4CD6-92F3-0FF191DD1388}"/>
                </a:ext>
              </a:extLst>
            </p:cNvPr>
            <p:cNvSpPr/>
            <p:nvPr/>
          </p:nvSpPr>
          <p:spPr bwMode="ltGray">
            <a:xfrm>
              <a:off x="9336405" y="1188719"/>
              <a:ext cx="205739" cy="205740"/>
            </a:xfrm>
            <a:custGeom>
              <a:avLst/>
              <a:gdLst>
                <a:gd name="connsiteX0" fmla="*/ 102870 w 205739"/>
                <a:gd name="connsiteY0" fmla="*/ 0 h 205740"/>
                <a:gd name="connsiteX1" fmla="*/ 0 w 205739"/>
                <a:gd name="connsiteY1" fmla="*/ 102870 h 205740"/>
                <a:gd name="connsiteX2" fmla="*/ 102870 w 205739"/>
                <a:gd name="connsiteY2" fmla="*/ 205740 h 205740"/>
                <a:gd name="connsiteX3" fmla="*/ 205739 w 205739"/>
                <a:gd name="connsiteY3" fmla="*/ 102870 h 205740"/>
                <a:gd name="connsiteX4" fmla="*/ 102870 w 205739"/>
                <a:gd name="connsiteY4" fmla="*/ 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39" h="205740">
                  <a:moveTo>
                    <a:pt x="102870" y="0"/>
                  </a:moveTo>
                  <a:cubicBezTo>
                    <a:pt x="45720" y="0"/>
                    <a:pt x="0" y="46355"/>
                    <a:pt x="0" y="102870"/>
                  </a:cubicBezTo>
                  <a:cubicBezTo>
                    <a:pt x="0" y="160020"/>
                    <a:pt x="46355" y="205740"/>
                    <a:pt x="102870" y="205740"/>
                  </a:cubicBezTo>
                  <a:cubicBezTo>
                    <a:pt x="159385" y="205740"/>
                    <a:pt x="205739" y="159385"/>
                    <a:pt x="205739" y="102870"/>
                  </a:cubicBezTo>
                  <a:cubicBezTo>
                    <a:pt x="205739" y="46355"/>
                    <a:pt x="160020" y="0"/>
                    <a:pt x="102870" y="0"/>
                  </a:cubicBezTo>
                  <a:close/>
                </a:path>
              </a:pathLst>
            </a:custGeom>
            <a:solidFill>
              <a:srgbClr val="F6DE00"/>
            </a:solidFill>
            <a:ln w="6350"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7E92F51C-CC22-4E1C-92B3-46D9F4DA1B25}"/>
                </a:ext>
              </a:extLst>
            </p:cNvPr>
            <p:cNvSpPr/>
            <p:nvPr/>
          </p:nvSpPr>
          <p:spPr bwMode="ltGray">
            <a:xfrm>
              <a:off x="8996044" y="1214755"/>
              <a:ext cx="154940" cy="154939"/>
            </a:xfrm>
            <a:custGeom>
              <a:avLst/>
              <a:gdLst>
                <a:gd name="connsiteX0" fmla="*/ 77470 w 154940"/>
                <a:gd name="connsiteY0" fmla="*/ 0 h 154939"/>
                <a:gd name="connsiteX1" fmla="*/ 0 w 154940"/>
                <a:gd name="connsiteY1" fmla="*/ 77470 h 154939"/>
                <a:gd name="connsiteX2" fmla="*/ 77470 w 154940"/>
                <a:gd name="connsiteY2" fmla="*/ 154940 h 154939"/>
                <a:gd name="connsiteX3" fmla="*/ 154940 w 154940"/>
                <a:gd name="connsiteY3" fmla="*/ 77470 h 154939"/>
                <a:gd name="connsiteX4" fmla="*/ 77470 w 154940"/>
                <a:gd name="connsiteY4" fmla="*/ 0 h 154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40" h="154939">
                  <a:moveTo>
                    <a:pt x="77470" y="0"/>
                  </a:moveTo>
                  <a:cubicBezTo>
                    <a:pt x="34925" y="0"/>
                    <a:pt x="0" y="34290"/>
                    <a:pt x="0" y="77470"/>
                  </a:cubicBezTo>
                  <a:cubicBezTo>
                    <a:pt x="0" y="120015"/>
                    <a:pt x="34290" y="154940"/>
                    <a:pt x="77470" y="154940"/>
                  </a:cubicBezTo>
                  <a:cubicBezTo>
                    <a:pt x="120015" y="154940"/>
                    <a:pt x="154940" y="120650"/>
                    <a:pt x="154940" y="77470"/>
                  </a:cubicBezTo>
                  <a:cubicBezTo>
                    <a:pt x="154305" y="34290"/>
                    <a:pt x="120015" y="0"/>
                    <a:pt x="77470" y="0"/>
                  </a:cubicBezTo>
                  <a:close/>
                </a:path>
              </a:pathLst>
            </a:custGeom>
            <a:solidFill>
              <a:srgbClr val="F6DE00"/>
            </a:solidFill>
            <a:ln w="6350"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112EA1C2-CB2C-4B4D-8429-F50B5E3B7955}"/>
                </a:ext>
              </a:extLst>
            </p:cNvPr>
            <p:cNvSpPr/>
            <p:nvPr/>
          </p:nvSpPr>
          <p:spPr bwMode="ltGray">
            <a:xfrm>
              <a:off x="8658225" y="1242060"/>
              <a:ext cx="99059" cy="99059"/>
            </a:xfrm>
            <a:custGeom>
              <a:avLst/>
              <a:gdLst>
                <a:gd name="connsiteX0" fmla="*/ 49530 w 99059"/>
                <a:gd name="connsiteY0" fmla="*/ 0 h 99059"/>
                <a:gd name="connsiteX1" fmla="*/ 0 w 99059"/>
                <a:gd name="connsiteY1" fmla="*/ 49530 h 99059"/>
                <a:gd name="connsiteX2" fmla="*/ 49530 w 99059"/>
                <a:gd name="connsiteY2" fmla="*/ 99060 h 99059"/>
                <a:gd name="connsiteX3" fmla="*/ 99060 w 99059"/>
                <a:gd name="connsiteY3" fmla="*/ 49530 h 99059"/>
                <a:gd name="connsiteX4" fmla="*/ 49530 w 99059"/>
                <a:gd name="connsiteY4" fmla="*/ 0 h 9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59" h="99059">
                  <a:moveTo>
                    <a:pt x="49530" y="0"/>
                  </a:moveTo>
                  <a:cubicBezTo>
                    <a:pt x="22225" y="0"/>
                    <a:pt x="0" y="22225"/>
                    <a:pt x="0" y="49530"/>
                  </a:cubicBezTo>
                  <a:cubicBezTo>
                    <a:pt x="0" y="76835"/>
                    <a:pt x="22225" y="99060"/>
                    <a:pt x="49530" y="99060"/>
                  </a:cubicBezTo>
                  <a:cubicBezTo>
                    <a:pt x="76835" y="99060"/>
                    <a:pt x="99060" y="76835"/>
                    <a:pt x="99060" y="49530"/>
                  </a:cubicBezTo>
                  <a:cubicBezTo>
                    <a:pt x="99060" y="22225"/>
                    <a:pt x="76835" y="0"/>
                    <a:pt x="49530" y="0"/>
                  </a:cubicBezTo>
                  <a:close/>
                </a:path>
              </a:pathLst>
            </a:custGeom>
            <a:solidFill>
              <a:srgbClr val="F6DE00"/>
            </a:solidFill>
            <a:ln w="6350" cap="flat">
              <a:noFill/>
              <a:prstDash val="solid"/>
              <a:miter/>
            </a:ln>
          </p:spPr>
          <p:txBody>
            <a:bodyPr rtlCol="0" anchor="ctr"/>
            <a:lstStyle/>
            <a:p>
              <a:endParaRPr lang="en-GB"/>
            </a:p>
          </p:txBody>
        </p:sp>
        <p:sp>
          <p:nvSpPr>
            <p:cNvPr id="59" name="Freeform: Shape 58">
              <a:extLst>
                <a:ext uri="{FF2B5EF4-FFF2-40B4-BE49-F238E27FC236}">
                  <a16:creationId xmlns:a16="http://schemas.microsoft.com/office/drawing/2014/main" id="{1BB45966-7BFA-4E59-A410-2177F3834495}"/>
                </a:ext>
              </a:extLst>
            </p:cNvPr>
            <p:cNvSpPr/>
            <p:nvPr/>
          </p:nvSpPr>
          <p:spPr bwMode="ltGray">
            <a:xfrm>
              <a:off x="8314690" y="1264919"/>
              <a:ext cx="53340" cy="53340"/>
            </a:xfrm>
            <a:custGeom>
              <a:avLst/>
              <a:gdLst>
                <a:gd name="connsiteX0" fmla="*/ 53340 w 53340"/>
                <a:gd name="connsiteY0" fmla="*/ 26670 h 53340"/>
                <a:gd name="connsiteX1" fmla="*/ 26670 w 53340"/>
                <a:gd name="connsiteY1" fmla="*/ 0 h 53340"/>
                <a:gd name="connsiteX2" fmla="*/ 0 w 53340"/>
                <a:gd name="connsiteY2" fmla="*/ 26670 h 53340"/>
                <a:gd name="connsiteX3" fmla="*/ 26670 w 53340"/>
                <a:gd name="connsiteY3" fmla="*/ 53340 h 53340"/>
                <a:gd name="connsiteX4" fmla="*/ 53340 w 53340"/>
                <a:gd name="connsiteY4" fmla="*/ 26670 h 53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 h="53340">
                  <a:moveTo>
                    <a:pt x="53340" y="26670"/>
                  </a:moveTo>
                  <a:cubicBezTo>
                    <a:pt x="53340" y="12065"/>
                    <a:pt x="41275" y="0"/>
                    <a:pt x="26670" y="0"/>
                  </a:cubicBezTo>
                  <a:cubicBezTo>
                    <a:pt x="12065" y="0"/>
                    <a:pt x="0" y="12065"/>
                    <a:pt x="0" y="26670"/>
                  </a:cubicBezTo>
                  <a:cubicBezTo>
                    <a:pt x="0" y="41275"/>
                    <a:pt x="12065" y="53340"/>
                    <a:pt x="26670" y="53340"/>
                  </a:cubicBezTo>
                  <a:cubicBezTo>
                    <a:pt x="41275" y="53340"/>
                    <a:pt x="53340" y="41275"/>
                    <a:pt x="53340" y="26670"/>
                  </a:cubicBezTo>
                  <a:close/>
                </a:path>
              </a:pathLst>
            </a:custGeom>
            <a:solidFill>
              <a:srgbClr val="F6DE00"/>
            </a:solidFill>
            <a:ln w="635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62C2A16D-DA1F-490A-8036-A73AA2F0FB92}"/>
                </a:ext>
              </a:extLst>
            </p:cNvPr>
            <p:cNvSpPr/>
            <p:nvPr/>
          </p:nvSpPr>
          <p:spPr bwMode="ltGray">
            <a:xfrm>
              <a:off x="11870055" y="795655"/>
              <a:ext cx="261619" cy="261619"/>
            </a:xfrm>
            <a:custGeom>
              <a:avLst/>
              <a:gdLst>
                <a:gd name="connsiteX0" fmla="*/ 130810 w 261619"/>
                <a:gd name="connsiteY0" fmla="*/ 0 h 261619"/>
                <a:gd name="connsiteX1" fmla="*/ 0 w 261619"/>
                <a:gd name="connsiteY1" fmla="*/ 130810 h 261619"/>
                <a:gd name="connsiteX2" fmla="*/ 130810 w 261619"/>
                <a:gd name="connsiteY2" fmla="*/ 261620 h 261619"/>
                <a:gd name="connsiteX3" fmla="*/ 261620 w 261619"/>
                <a:gd name="connsiteY3" fmla="*/ 130810 h 261619"/>
                <a:gd name="connsiteX4" fmla="*/ 130810 w 261619"/>
                <a:gd name="connsiteY4" fmla="*/ 0 h 261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19">
                  <a:moveTo>
                    <a:pt x="130810" y="0"/>
                  </a:moveTo>
                  <a:cubicBezTo>
                    <a:pt x="58420" y="0"/>
                    <a:pt x="0" y="58420"/>
                    <a:pt x="0" y="130810"/>
                  </a:cubicBezTo>
                  <a:cubicBezTo>
                    <a:pt x="0" y="203200"/>
                    <a:pt x="58420" y="261620"/>
                    <a:pt x="130810" y="261620"/>
                  </a:cubicBezTo>
                  <a:cubicBezTo>
                    <a:pt x="203200" y="261620"/>
                    <a:pt x="261620" y="203200"/>
                    <a:pt x="261620" y="130810"/>
                  </a:cubicBezTo>
                  <a:cubicBezTo>
                    <a:pt x="261620" y="58420"/>
                    <a:pt x="202564" y="0"/>
                    <a:pt x="130810" y="0"/>
                  </a:cubicBezTo>
                  <a:close/>
                </a:path>
              </a:pathLst>
            </a:custGeom>
            <a:solidFill>
              <a:srgbClr val="F6DE00"/>
            </a:solidFill>
            <a:ln w="6350" cap="flat">
              <a:noFill/>
              <a:prstDash val="solid"/>
              <a:miter/>
            </a:ln>
          </p:spPr>
          <p:txBody>
            <a:bodyPr rtlCol="0" anchor="ctr"/>
            <a:lstStyle/>
            <a:p>
              <a:endParaRPr lang="en-GB"/>
            </a:p>
          </p:txBody>
        </p:sp>
        <p:sp>
          <p:nvSpPr>
            <p:cNvPr id="61" name="Freeform: Shape 60">
              <a:extLst>
                <a:ext uri="{FF2B5EF4-FFF2-40B4-BE49-F238E27FC236}">
                  <a16:creationId xmlns:a16="http://schemas.microsoft.com/office/drawing/2014/main" id="{93FBDE91-65A8-4F6F-BC67-387E5A27AE26}"/>
                </a:ext>
              </a:extLst>
            </p:cNvPr>
            <p:cNvSpPr/>
            <p:nvPr/>
          </p:nvSpPr>
          <p:spPr bwMode="ltGray">
            <a:xfrm>
              <a:off x="11490325" y="781685"/>
              <a:ext cx="288290" cy="288289"/>
            </a:xfrm>
            <a:custGeom>
              <a:avLst/>
              <a:gdLst>
                <a:gd name="connsiteX0" fmla="*/ 288290 w 288290"/>
                <a:gd name="connsiteY0" fmla="*/ 144145 h 288289"/>
                <a:gd name="connsiteX1" fmla="*/ 144145 w 288290"/>
                <a:gd name="connsiteY1" fmla="*/ 288290 h 288289"/>
                <a:gd name="connsiteX2" fmla="*/ 1 w 288290"/>
                <a:gd name="connsiteY2" fmla="*/ 144145 h 288289"/>
                <a:gd name="connsiteX3" fmla="*/ 144145 w 288290"/>
                <a:gd name="connsiteY3" fmla="*/ 0 h 288289"/>
                <a:gd name="connsiteX4" fmla="*/ 288290 w 288290"/>
                <a:gd name="connsiteY4" fmla="*/ 144145 h 288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290" h="288289">
                  <a:moveTo>
                    <a:pt x="288290" y="144145"/>
                  </a:moveTo>
                  <a:cubicBezTo>
                    <a:pt x="288290" y="223754"/>
                    <a:pt x="223755" y="288290"/>
                    <a:pt x="144145" y="288290"/>
                  </a:cubicBezTo>
                  <a:cubicBezTo>
                    <a:pt x="64536" y="288290"/>
                    <a:pt x="1" y="223754"/>
                    <a:pt x="1" y="144145"/>
                  </a:cubicBezTo>
                  <a:cubicBezTo>
                    <a:pt x="1" y="64536"/>
                    <a:pt x="64536" y="0"/>
                    <a:pt x="144145" y="0"/>
                  </a:cubicBezTo>
                  <a:cubicBezTo>
                    <a:pt x="223755" y="0"/>
                    <a:pt x="288290" y="64536"/>
                    <a:pt x="288290" y="144145"/>
                  </a:cubicBezTo>
                  <a:close/>
                </a:path>
              </a:pathLst>
            </a:custGeom>
            <a:solidFill>
              <a:srgbClr val="F6DE00"/>
            </a:solidFill>
            <a:ln w="6350" cap="flat">
              <a:noFill/>
              <a:prstDash val="solid"/>
              <a:miter/>
            </a:ln>
          </p:spPr>
          <p:txBody>
            <a:bodyPr rtlCol="0" anchor="ctr"/>
            <a:lstStyle/>
            <a:p>
              <a:endParaRPr lang="en-GB"/>
            </a:p>
          </p:txBody>
        </p:sp>
        <p:sp>
          <p:nvSpPr>
            <p:cNvPr id="62" name="Freeform: Shape 61">
              <a:extLst>
                <a:ext uri="{FF2B5EF4-FFF2-40B4-BE49-F238E27FC236}">
                  <a16:creationId xmlns:a16="http://schemas.microsoft.com/office/drawing/2014/main" id="{69BCA09C-73BB-4D4E-878D-51B639BF4124}"/>
                </a:ext>
              </a:extLst>
            </p:cNvPr>
            <p:cNvSpPr/>
            <p:nvPr/>
          </p:nvSpPr>
          <p:spPr bwMode="ltGray">
            <a:xfrm>
              <a:off x="11117580" y="774700"/>
              <a:ext cx="302259" cy="302260"/>
            </a:xfrm>
            <a:custGeom>
              <a:avLst/>
              <a:gdLst>
                <a:gd name="connsiteX0" fmla="*/ 302260 w 302259"/>
                <a:gd name="connsiteY0" fmla="*/ 151130 h 302260"/>
                <a:gd name="connsiteX1" fmla="*/ 151130 w 302259"/>
                <a:gd name="connsiteY1" fmla="*/ 302260 h 302260"/>
                <a:gd name="connsiteX2" fmla="*/ 0 w 302259"/>
                <a:gd name="connsiteY2" fmla="*/ 151130 h 302260"/>
                <a:gd name="connsiteX3" fmla="*/ 151130 w 302259"/>
                <a:gd name="connsiteY3" fmla="*/ 0 h 302260"/>
                <a:gd name="connsiteX4" fmla="*/ 302260 w 302259"/>
                <a:gd name="connsiteY4" fmla="*/ 151130 h 30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60">
                  <a:moveTo>
                    <a:pt x="302260" y="151130"/>
                  </a:moveTo>
                  <a:cubicBezTo>
                    <a:pt x="302260" y="234597"/>
                    <a:pt x="234597" y="302260"/>
                    <a:pt x="151130" y="302260"/>
                  </a:cubicBezTo>
                  <a:cubicBezTo>
                    <a:pt x="67663" y="302260"/>
                    <a:pt x="0" y="234597"/>
                    <a:pt x="0" y="151130"/>
                  </a:cubicBezTo>
                  <a:cubicBezTo>
                    <a:pt x="0" y="67663"/>
                    <a:pt x="67663" y="0"/>
                    <a:pt x="151130" y="0"/>
                  </a:cubicBezTo>
                  <a:cubicBezTo>
                    <a:pt x="234597" y="0"/>
                    <a:pt x="302260" y="67663"/>
                    <a:pt x="302260" y="151130"/>
                  </a:cubicBezTo>
                  <a:close/>
                </a:path>
              </a:pathLst>
            </a:custGeom>
            <a:solidFill>
              <a:srgbClr val="F6DE00"/>
            </a:solidFill>
            <a:ln w="6350" cap="flat">
              <a:no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EE4EB459-5F0A-421A-B3F8-6DB19B48E17D}"/>
                </a:ext>
              </a:extLst>
            </p:cNvPr>
            <p:cNvSpPr/>
            <p:nvPr/>
          </p:nvSpPr>
          <p:spPr bwMode="ltGray">
            <a:xfrm>
              <a:off x="10749280" y="772160"/>
              <a:ext cx="307340" cy="307339"/>
            </a:xfrm>
            <a:custGeom>
              <a:avLst/>
              <a:gdLst>
                <a:gd name="connsiteX0" fmla="*/ 307340 w 307340"/>
                <a:gd name="connsiteY0" fmla="*/ 153670 h 307339"/>
                <a:gd name="connsiteX1" fmla="*/ 153670 w 307340"/>
                <a:gd name="connsiteY1" fmla="*/ 307340 h 307339"/>
                <a:gd name="connsiteX2" fmla="*/ 0 w 307340"/>
                <a:gd name="connsiteY2" fmla="*/ 153670 h 307339"/>
                <a:gd name="connsiteX3" fmla="*/ 153670 w 307340"/>
                <a:gd name="connsiteY3" fmla="*/ 0 h 307339"/>
                <a:gd name="connsiteX4" fmla="*/ 307340 w 307340"/>
                <a:gd name="connsiteY4" fmla="*/ 153670 h 307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39">
                  <a:moveTo>
                    <a:pt x="307340" y="153670"/>
                  </a:moveTo>
                  <a:cubicBezTo>
                    <a:pt x="307340" y="238540"/>
                    <a:pt x="238539" y="307340"/>
                    <a:pt x="153670" y="307340"/>
                  </a:cubicBezTo>
                  <a:cubicBezTo>
                    <a:pt x="68801" y="307340"/>
                    <a:pt x="0" y="238540"/>
                    <a:pt x="0" y="153670"/>
                  </a:cubicBezTo>
                  <a:cubicBezTo>
                    <a:pt x="0" y="68800"/>
                    <a:pt x="68801" y="0"/>
                    <a:pt x="153670" y="0"/>
                  </a:cubicBezTo>
                  <a:cubicBezTo>
                    <a:pt x="238539" y="0"/>
                    <a:pt x="307340" y="68800"/>
                    <a:pt x="307340" y="153670"/>
                  </a:cubicBezTo>
                  <a:close/>
                </a:path>
              </a:pathLst>
            </a:custGeom>
            <a:solidFill>
              <a:srgbClr val="F6DE00"/>
            </a:solidFill>
            <a:ln w="6350"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D545B0B0-193A-4213-8C7E-088E51B51F10}"/>
                </a:ext>
              </a:extLst>
            </p:cNvPr>
            <p:cNvSpPr/>
            <p:nvPr/>
          </p:nvSpPr>
          <p:spPr bwMode="ltGray">
            <a:xfrm>
              <a:off x="10384155" y="772795"/>
              <a:ext cx="306069" cy="306069"/>
            </a:xfrm>
            <a:custGeom>
              <a:avLst/>
              <a:gdLst>
                <a:gd name="connsiteX0" fmla="*/ 306070 w 306069"/>
                <a:gd name="connsiteY0" fmla="*/ 153035 h 306069"/>
                <a:gd name="connsiteX1" fmla="*/ 153035 w 306069"/>
                <a:gd name="connsiteY1" fmla="*/ 306070 h 306069"/>
                <a:gd name="connsiteX2" fmla="*/ 0 w 306069"/>
                <a:gd name="connsiteY2" fmla="*/ 153035 h 306069"/>
                <a:gd name="connsiteX3" fmla="*/ 153035 w 306069"/>
                <a:gd name="connsiteY3" fmla="*/ 0 h 306069"/>
                <a:gd name="connsiteX4" fmla="*/ 306070 w 306069"/>
                <a:gd name="connsiteY4" fmla="*/ 153035 h 306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69" h="306069">
                  <a:moveTo>
                    <a:pt x="306070" y="153035"/>
                  </a:moveTo>
                  <a:cubicBezTo>
                    <a:pt x="306070" y="237554"/>
                    <a:pt x="237554" y="306070"/>
                    <a:pt x="153035" y="306070"/>
                  </a:cubicBezTo>
                  <a:cubicBezTo>
                    <a:pt x="68516" y="306070"/>
                    <a:pt x="0" y="237554"/>
                    <a:pt x="0" y="153035"/>
                  </a:cubicBezTo>
                  <a:cubicBezTo>
                    <a:pt x="0" y="68516"/>
                    <a:pt x="68516" y="0"/>
                    <a:pt x="153035" y="0"/>
                  </a:cubicBezTo>
                  <a:cubicBezTo>
                    <a:pt x="237554" y="0"/>
                    <a:pt x="306070" y="68516"/>
                    <a:pt x="306070" y="153035"/>
                  </a:cubicBezTo>
                  <a:close/>
                </a:path>
              </a:pathLst>
            </a:custGeom>
            <a:solidFill>
              <a:srgbClr val="F6DE00"/>
            </a:solidFill>
            <a:ln w="635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3D0B4BEA-E29B-41DD-B27C-8AE0B9F1E754}"/>
                </a:ext>
              </a:extLst>
            </p:cNvPr>
            <p:cNvSpPr/>
            <p:nvPr/>
          </p:nvSpPr>
          <p:spPr bwMode="ltGray">
            <a:xfrm>
              <a:off x="10022205" y="777240"/>
              <a:ext cx="297179" cy="297179"/>
            </a:xfrm>
            <a:custGeom>
              <a:avLst/>
              <a:gdLst>
                <a:gd name="connsiteX0" fmla="*/ 148589 w 297179"/>
                <a:gd name="connsiteY0" fmla="*/ 0 h 297179"/>
                <a:gd name="connsiteX1" fmla="*/ 0 w 297179"/>
                <a:gd name="connsiteY1" fmla="*/ 148590 h 297179"/>
                <a:gd name="connsiteX2" fmla="*/ 148589 w 297179"/>
                <a:gd name="connsiteY2" fmla="*/ 297180 h 297179"/>
                <a:gd name="connsiteX3" fmla="*/ 297180 w 297179"/>
                <a:gd name="connsiteY3" fmla="*/ 148590 h 297179"/>
                <a:gd name="connsiteX4" fmla="*/ 148589 w 297179"/>
                <a:gd name="connsiteY4" fmla="*/ 0 h 297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79" h="297179">
                  <a:moveTo>
                    <a:pt x="148589" y="0"/>
                  </a:moveTo>
                  <a:cubicBezTo>
                    <a:pt x="66675" y="0"/>
                    <a:pt x="0" y="66675"/>
                    <a:pt x="0" y="148590"/>
                  </a:cubicBezTo>
                  <a:cubicBezTo>
                    <a:pt x="0" y="230505"/>
                    <a:pt x="66675" y="297180"/>
                    <a:pt x="148589" y="297180"/>
                  </a:cubicBezTo>
                  <a:cubicBezTo>
                    <a:pt x="230505" y="297180"/>
                    <a:pt x="297180" y="230505"/>
                    <a:pt x="297180" y="148590"/>
                  </a:cubicBezTo>
                  <a:cubicBezTo>
                    <a:pt x="297180" y="66675"/>
                    <a:pt x="231139" y="0"/>
                    <a:pt x="148589" y="0"/>
                  </a:cubicBezTo>
                  <a:close/>
                </a:path>
              </a:pathLst>
            </a:custGeom>
            <a:solidFill>
              <a:srgbClr val="F6DE00"/>
            </a:solidFill>
            <a:ln w="6350" cap="flat">
              <a:no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08CBF93E-FC24-409A-AC1C-2694503256C2}"/>
                </a:ext>
              </a:extLst>
            </p:cNvPr>
            <p:cNvSpPr/>
            <p:nvPr/>
          </p:nvSpPr>
          <p:spPr bwMode="ltGray">
            <a:xfrm>
              <a:off x="9666605" y="787400"/>
              <a:ext cx="276859" cy="276860"/>
            </a:xfrm>
            <a:custGeom>
              <a:avLst/>
              <a:gdLst>
                <a:gd name="connsiteX0" fmla="*/ 276860 w 276859"/>
                <a:gd name="connsiteY0" fmla="*/ 138430 h 276860"/>
                <a:gd name="connsiteX1" fmla="*/ 138430 w 276859"/>
                <a:gd name="connsiteY1" fmla="*/ 276860 h 276860"/>
                <a:gd name="connsiteX2" fmla="*/ 0 w 276859"/>
                <a:gd name="connsiteY2" fmla="*/ 138430 h 276860"/>
                <a:gd name="connsiteX3" fmla="*/ 138430 w 276859"/>
                <a:gd name="connsiteY3" fmla="*/ 0 h 276860"/>
                <a:gd name="connsiteX4" fmla="*/ 276860 w 276859"/>
                <a:gd name="connsiteY4" fmla="*/ 138430 h 276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60">
                  <a:moveTo>
                    <a:pt x="276860" y="138430"/>
                  </a:moveTo>
                  <a:cubicBezTo>
                    <a:pt x="276860" y="214883"/>
                    <a:pt x="214883" y="276860"/>
                    <a:pt x="138430" y="276860"/>
                  </a:cubicBezTo>
                  <a:cubicBezTo>
                    <a:pt x="61977" y="276860"/>
                    <a:pt x="0" y="214883"/>
                    <a:pt x="0" y="138430"/>
                  </a:cubicBezTo>
                  <a:cubicBezTo>
                    <a:pt x="0" y="61977"/>
                    <a:pt x="61976" y="0"/>
                    <a:pt x="138430" y="0"/>
                  </a:cubicBezTo>
                  <a:cubicBezTo>
                    <a:pt x="214883"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33F9AA1C-3963-489C-B0D9-C0F55240262C}"/>
                </a:ext>
              </a:extLst>
            </p:cNvPr>
            <p:cNvSpPr/>
            <p:nvPr/>
          </p:nvSpPr>
          <p:spPr bwMode="ltGray">
            <a:xfrm>
              <a:off x="9319259" y="805815"/>
              <a:ext cx="240030" cy="240029"/>
            </a:xfrm>
            <a:custGeom>
              <a:avLst/>
              <a:gdLst>
                <a:gd name="connsiteX0" fmla="*/ 120015 w 240030"/>
                <a:gd name="connsiteY0" fmla="*/ 0 h 240029"/>
                <a:gd name="connsiteX1" fmla="*/ 0 w 240030"/>
                <a:gd name="connsiteY1" fmla="*/ 120015 h 240029"/>
                <a:gd name="connsiteX2" fmla="*/ 120015 w 240030"/>
                <a:gd name="connsiteY2" fmla="*/ 240030 h 240029"/>
                <a:gd name="connsiteX3" fmla="*/ 240030 w 240030"/>
                <a:gd name="connsiteY3" fmla="*/ 120015 h 240029"/>
                <a:gd name="connsiteX4" fmla="*/ 120015 w 240030"/>
                <a:gd name="connsiteY4" fmla="*/ 0 h 240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 h="240029">
                  <a:moveTo>
                    <a:pt x="120015" y="0"/>
                  </a:moveTo>
                  <a:cubicBezTo>
                    <a:pt x="53975" y="0"/>
                    <a:pt x="0" y="53975"/>
                    <a:pt x="0" y="120015"/>
                  </a:cubicBezTo>
                  <a:cubicBezTo>
                    <a:pt x="0" y="186055"/>
                    <a:pt x="53975" y="240030"/>
                    <a:pt x="120015" y="240030"/>
                  </a:cubicBezTo>
                  <a:cubicBezTo>
                    <a:pt x="186055" y="240030"/>
                    <a:pt x="240030" y="186055"/>
                    <a:pt x="240030" y="120015"/>
                  </a:cubicBezTo>
                  <a:cubicBezTo>
                    <a:pt x="240030" y="53975"/>
                    <a:pt x="186055" y="0"/>
                    <a:pt x="120015" y="0"/>
                  </a:cubicBezTo>
                  <a:close/>
                </a:path>
              </a:pathLst>
            </a:custGeom>
            <a:solidFill>
              <a:srgbClr val="F6DE00"/>
            </a:solidFill>
            <a:ln w="6350" cap="flat">
              <a:no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D2AE240C-1E76-40A3-9EBE-13DD42A40B83}"/>
                </a:ext>
              </a:extLst>
            </p:cNvPr>
            <p:cNvSpPr/>
            <p:nvPr/>
          </p:nvSpPr>
          <p:spPr bwMode="ltGray">
            <a:xfrm>
              <a:off x="8980805" y="833120"/>
              <a:ext cx="185419" cy="185419"/>
            </a:xfrm>
            <a:custGeom>
              <a:avLst/>
              <a:gdLst>
                <a:gd name="connsiteX0" fmla="*/ 185420 w 185419"/>
                <a:gd name="connsiteY0" fmla="*/ 92710 h 185419"/>
                <a:gd name="connsiteX1" fmla="*/ 92710 w 185419"/>
                <a:gd name="connsiteY1" fmla="*/ 185420 h 185419"/>
                <a:gd name="connsiteX2" fmla="*/ 0 w 185419"/>
                <a:gd name="connsiteY2" fmla="*/ 92710 h 185419"/>
                <a:gd name="connsiteX3" fmla="*/ 92710 w 185419"/>
                <a:gd name="connsiteY3" fmla="*/ 0 h 185419"/>
                <a:gd name="connsiteX4" fmla="*/ 185420 w 185419"/>
                <a:gd name="connsiteY4" fmla="*/ 92710 h 185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19" h="185419">
                  <a:moveTo>
                    <a:pt x="185420" y="92710"/>
                  </a:moveTo>
                  <a:cubicBezTo>
                    <a:pt x="185420" y="143912"/>
                    <a:pt x="143912" y="185420"/>
                    <a:pt x="92710" y="185420"/>
                  </a:cubicBezTo>
                  <a:cubicBezTo>
                    <a:pt x="41508" y="185420"/>
                    <a:pt x="0" y="143912"/>
                    <a:pt x="0" y="92710"/>
                  </a:cubicBezTo>
                  <a:cubicBezTo>
                    <a:pt x="0" y="41508"/>
                    <a:pt x="41508" y="0"/>
                    <a:pt x="92710" y="0"/>
                  </a:cubicBezTo>
                  <a:cubicBezTo>
                    <a:pt x="143912" y="0"/>
                    <a:pt x="185420" y="41508"/>
                    <a:pt x="185420" y="92710"/>
                  </a:cubicBezTo>
                  <a:close/>
                </a:path>
              </a:pathLst>
            </a:custGeom>
            <a:solidFill>
              <a:srgbClr val="F6DE00"/>
            </a:solidFill>
            <a:ln w="6350" cap="flat">
              <a:no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A893E278-AAE6-41CD-9995-9554183B2B92}"/>
                </a:ext>
              </a:extLst>
            </p:cNvPr>
            <p:cNvSpPr/>
            <p:nvPr/>
          </p:nvSpPr>
          <p:spPr bwMode="ltGray">
            <a:xfrm>
              <a:off x="8644890" y="862964"/>
              <a:ext cx="125729" cy="125730"/>
            </a:xfrm>
            <a:custGeom>
              <a:avLst/>
              <a:gdLst>
                <a:gd name="connsiteX0" fmla="*/ 62865 w 125729"/>
                <a:gd name="connsiteY0" fmla="*/ 0 h 125730"/>
                <a:gd name="connsiteX1" fmla="*/ 0 w 125729"/>
                <a:gd name="connsiteY1" fmla="*/ 62865 h 125730"/>
                <a:gd name="connsiteX2" fmla="*/ 62865 w 125729"/>
                <a:gd name="connsiteY2" fmla="*/ 125730 h 125730"/>
                <a:gd name="connsiteX3" fmla="*/ 125730 w 125729"/>
                <a:gd name="connsiteY3" fmla="*/ 62865 h 125730"/>
                <a:gd name="connsiteX4" fmla="*/ 62865 w 125729"/>
                <a:gd name="connsiteY4" fmla="*/ 0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9" h="125730">
                  <a:moveTo>
                    <a:pt x="62865" y="0"/>
                  </a:moveTo>
                  <a:cubicBezTo>
                    <a:pt x="27940" y="0"/>
                    <a:pt x="0" y="27940"/>
                    <a:pt x="0" y="62865"/>
                  </a:cubicBezTo>
                  <a:cubicBezTo>
                    <a:pt x="0" y="97790"/>
                    <a:pt x="27940" y="125730"/>
                    <a:pt x="62865" y="125730"/>
                  </a:cubicBezTo>
                  <a:cubicBezTo>
                    <a:pt x="97790" y="125730"/>
                    <a:pt x="125730" y="97790"/>
                    <a:pt x="125730" y="62865"/>
                  </a:cubicBezTo>
                  <a:cubicBezTo>
                    <a:pt x="125730" y="27940"/>
                    <a:pt x="97155" y="0"/>
                    <a:pt x="62865" y="0"/>
                  </a:cubicBezTo>
                  <a:close/>
                </a:path>
              </a:pathLst>
            </a:custGeom>
            <a:solidFill>
              <a:srgbClr val="F6DE00"/>
            </a:solidFill>
            <a:ln w="6350" cap="flat">
              <a:no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CF505845-95A1-4781-B40A-BE4B3FDD4651}"/>
                </a:ext>
              </a:extLst>
            </p:cNvPr>
            <p:cNvSpPr/>
            <p:nvPr/>
          </p:nvSpPr>
          <p:spPr bwMode="ltGray">
            <a:xfrm>
              <a:off x="8307069" y="891540"/>
              <a:ext cx="68580" cy="68580"/>
            </a:xfrm>
            <a:custGeom>
              <a:avLst/>
              <a:gdLst>
                <a:gd name="connsiteX0" fmla="*/ 68580 w 68580"/>
                <a:gd name="connsiteY0" fmla="*/ 34290 h 68580"/>
                <a:gd name="connsiteX1" fmla="*/ 34290 w 68580"/>
                <a:gd name="connsiteY1" fmla="*/ 68580 h 68580"/>
                <a:gd name="connsiteX2" fmla="*/ 0 w 68580"/>
                <a:gd name="connsiteY2" fmla="*/ 34290 h 68580"/>
                <a:gd name="connsiteX3" fmla="*/ 34290 w 68580"/>
                <a:gd name="connsiteY3" fmla="*/ 0 h 68580"/>
                <a:gd name="connsiteX4" fmla="*/ 68580 w 68580"/>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80">
                  <a:moveTo>
                    <a:pt x="68580" y="34290"/>
                  </a:moveTo>
                  <a:cubicBezTo>
                    <a:pt x="68580" y="53228"/>
                    <a:pt x="53228" y="68580"/>
                    <a:pt x="34290" y="68580"/>
                  </a:cubicBezTo>
                  <a:cubicBezTo>
                    <a:pt x="15352" y="68580"/>
                    <a:pt x="0" y="53228"/>
                    <a:pt x="0" y="34290"/>
                  </a:cubicBezTo>
                  <a:cubicBezTo>
                    <a:pt x="0" y="15352"/>
                    <a:pt x="15351" y="0"/>
                    <a:pt x="34290" y="0"/>
                  </a:cubicBezTo>
                  <a:cubicBezTo>
                    <a:pt x="53227" y="0"/>
                    <a:pt x="68580" y="15352"/>
                    <a:pt x="68580" y="34290"/>
                  </a:cubicBezTo>
                  <a:close/>
                </a:path>
              </a:pathLst>
            </a:custGeom>
            <a:solidFill>
              <a:srgbClr val="F6DE00"/>
            </a:solidFill>
            <a:ln w="6350"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C7A14381-2BF2-43F2-8396-8BF1508ABCB6}"/>
                </a:ext>
              </a:extLst>
            </p:cNvPr>
            <p:cNvSpPr/>
            <p:nvPr/>
          </p:nvSpPr>
          <p:spPr bwMode="ltGray">
            <a:xfrm>
              <a:off x="7959090" y="909319"/>
              <a:ext cx="33019" cy="33019"/>
            </a:xfrm>
            <a:custGeom>
              <a:avLst/>
              <a:gdLst>
                <a:gd name="connsiteX0" fmla="*/ 16510 w 33019"/>
                <a:gd name="connsiteY0" fmla="*/ 0 h 33019"/>
                <a:gd name="connsiteX1" fmla="*/ 0 w 33019"/>
                <a:gd name="connsiteY1" fmla="*/ 16510 h 33019"/>
                <a:gd name="connsiteX2" fmla="*/ 16510 w 33019"/>
                <a:gd name="connsiteY2" fmla="*/ 33020 h 33019"/>
                <a:gd name="connsiteX3" fmla="*/ 33020 w 33019"/>
                <a:gd name="connsiteY3" fmla="*/ 16510 h 33019"/>
                <a:gd name="connsiteX4" fmla="*/ 16510 w 33019"/>
                <a:gd name="connsiteY4" fmla="*/ 0 h 3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9" h="33019">
                  <a:moveTo>
                    <a:pt x="16510" y="0"/>
                  </a:moveTo>
                  <a:cubicBezTo>
                    <a:pt x="7620" y="0"/>
                    <a:pt x="0" y="7620"/>
                    <a:pt x="0" y="16510"/>
                  </a:cubicBezTo>
                  <a:cubicBezTo>
                    <a:pt x="0" y="25400"/>
                    <a:pt x="7620" y="33020"/>
                    <a:pt x="16510" y="33020"/>
                  </a:cubicBezTo>
                  <a:cubicBezTo>
                    <a:pt x="25400" y="33020"/>
                    <a:pt x="33020" y="25400"/>
                    <a:pt x="33020" y="16510"/>
                  </a:cubicBezTo>
                  <a:cubicBezTo>
                    <a:pt x="33020" y="7620"/>
                    <a:pt x="25400" y="0"/>
                    <a:pt x="16510" y="0"/>
                  </a:cubicBezTo>
                  <a:close/>
                </a:path>
              </a:pathLst>
            </a:custGeom>
            <a:solidFill>
              <a:srgbClr val="F6DE00"/>
            </a:solidFill>
            <a:ln w="6350" cap="flat">
              <a:no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F3092EDE-2364-4642-B211-E2262616C68F}"/>
                </a:ext>
              </a:extLst>
            </p:cNvPr>
            <p:cNvSpPr/>
            <p:nvPr/>
          </p:nvSpPr>
          <p:spPr bwMode="ltGray">
            <a:xfrm>
              <a:off x="11862435" y="421640"/>
              <a:ext cx="276859" cy="276859"/>
            </a:xfrm>
            <a:custGeom>
              <a:avLst/>
              <a:gdLst>
                <a:gd name="connsiteX0" fmla="*/ 276860 w 276859"/>
                <a:gd name="connsiteY0" fmla="*/ 138430 h 276859"/>
                <a:gd name="connsiteX1" fmla="*/ 138429 w 276859"/>
                <a:gd name="connsiteY1" fmla="*/ 276860 h 276859"/>
                <a:gd name="connsiteX2" fmla="*/ -1 w 276859"/>
                <a:gd name="connsiteY2" fmla="*/ 138430 h 276859"/>
                <a:gd name="connsiteX3" fmla="*/ 138429 w 276859"/>
                <a:gd name="connsiteY3" fmla="*/ 0 h 276859"/>
                <a:gd name="connsiteX4" fmla="*/ 276860 w 276859"/>
                <a:gd name="connsiteY4" fmla="*/ 138430 h 27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859" h="276859">
                  <a:moveTo>
                    <a:pt x="276860" y="138430"/>
                  </a:moveTo>
                  <a:cubicBezTo>
                    <a:pt x="276860" y="214883"/>
                    <a:pt x="214883" y="276860"/>
                    <a:pt x="138429" y="276860"/>
                  </a:cubicBezTo>
                  <a:cubicBezTo>
                    <a:pt x="61977" y="276860"/>
                    <a:pt x="-1" y="214883"/>
                    <a:pt x="-1" y="138430"/>
                  </a:cubicBezTo>
                  <a:cubicBezTo>
                    <a:pt x="-1" y="61977"/>
                    <a:pt x="61976" y="0"/>
                    <a:pt x="138429" y="0"/>
                  </a:cubicBezTo>
                  <a:cubicBezTo>
                    <a:pt x="214882" y="0"/>
                    <a:pt x="276860" y="61977"/>
                    <a:pt x="276860" y="138430"/>
                  </a:cubicBezTo>
                  <a:close/>
                </a:path>
              </a:pathLst>
            </a:custGeom>
            <a:solidFill>
              <a:srgbClr val="F6DE00"/>
            </a:solidFill>
            <a:ln w="6350"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41D1F96E-03DA-4587-BAD0-F4D4BE9193BE}"/>
                </a:ext>
              </a:extLst>
            </p:cNvPr>
            <p:cNvSpPr/>
            <p:nvPr/>
          </p:nvSpPr>
          <p:spPr bwMode="ltGray">
            <a:xfrm>
              <a:off x="11484610" y="410209"/>
              <a:ext cx="299719" cy="299720"/>
            </a:xfrm>
            <a:custGeom>
              <a:avLst/>
              <a:gdLst>
                <a:gd name="connsiteX0" fmla="*/ 299720 w 299719"/>
                <a:gd name="connsiteY0" fmla="*/ 149860 h 299720"/>
                <a:gd name="connsiteX1" fmla="*/ 149860 w 299719"/>
                <a:gd name="connsiteY1" fmla="*/ 299720 h 299720"/>
                <a:gd name="connsiteX2" fmla="*/ 1 w 299719"/>
                <a:gd name="connsiteY2" fmla="*/ 149860 h 299720"/>
                <a:gd name="connsiteX3" fmla="*/ 149860 w 299719"/>
                <a:gd name="connsiteY3" fmla="*/ 0 h 299720"/>
                <a:gd name="connsiteX4" fmla="*/ 299720 w 299719"/>
                <a:gd name="connsiteY4" fmla="*/ 14986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20">
                  <a:moveTo>
                    <a:pt x="299720" y="149860"/>
                  </a:moveTo>
                  <a:cubicBezTo>
                    <a:pt x="299720" y="232625"/>
                    <a:pt x="232626" y="299720"/>
                    <a:pt x="149860" y="299720"/>
                  </a:cubicBezTo>
                  <a:cubicBezTo>
                    <a:pt x="67095" y="299720"/>
                    <a:pt x="1" y="232625"/>
                    <a:pt x="1" y="149860"/>
                  </a:cubicBezTo>
                  <a:cubicBezTo>
                    <a:pt x="1" y="67095"/>
                    <a:pt x="67095" y="0"/>
                    <a:pt x="149860" y="0"/>
                  </a:cubicBezTo>
                  <a:cubicBezTo>
                    <a:pt x="232626" y="0"/>
                    <a:pt x="299720" y="67095"/>
                    <a:pt x="299720" y="149860"/>
                  </a:cubicBezTo>
                  <a:close/>
                </a:path>
              </a:pathLst>
            </a:custGeom>
            <a:solidFill>
              <a:srgbClr val="F6DE00"/>
            </a:solidFill>
            <a:ln w="6350" cap="flat">
              <a:no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0554A4C3-8A71-4341-A425-0A5AC5AECB31}"/>
                </a:ext>
              </a:extLst>
            </p:cNvPr>
            <p:cNvSpPr/>
            <p:nvPr/>
          </p:nvSpPr>
          <p:spPr bwMode="ltGray">
            <a:xfrm>
              <a:off x="11112500" y="403860"/>
              <a:ext cx="312419" cy="312420"/>
            </a:xfrm>
            <a:custGeom>
              <a:avLst/>
              <a:gdLst>
                <a:gd name="connsiteX0" fmla="*/ 312420 w 312419"/>
                <a:gd name="connsiteY0" fmla="*/ 156210 h 312420"/>
                <a:gd name="connsiteX1" fmla="*/ 156210 w 312419"/>
                <a:gd name="connsiteY1" fmla="*/ 312420 h 312420"/>
                <a:gd name="connsiteX2" fmla="*/ 0 w 312419"/>
                <a:gd name="connsiteY2" fmla="*/ 156210 h 312420"/>
                <a:gd name="connsiteX3" fmla="*/ 156210 w 312419"/>
                <a:gd name="connsiteY3" fmla="*/ 0 h 312420"/>
                <a:gd name="connsiteX4" fmla="*/ 312420 w 312419"/>
                <a:gd name="connsiteY4" fmla="*/ 156210 h 312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20">
                  <a:moveTo>
                    <a:pt x="312420" y="156210"/>
                  </a:moveTo>
                  <a:cubicBezTo>
                    <a:pt x="312420" y="242482"/>
                    <a:pt x="242482" y="312420"/>
                    <a:pt x="156210" y="312420"/>
                  </a:cubicBezTo>
                  <a:cubicBezTo>
                    <a:pt x="69938" y="312420"/>
                    <a:pt x="0" y="242482"/>
                    <a:pt x="0" y="156210"/>
                  </a:cubicBezTo>
                  <a:cubicBezTo>
                    <a:pt x="0" y="69938"/>
                    <a:pt x="69938" y="0"/>
                    <a:pt x="156210" y="0"/>
                  </a:cubicBezTo>
                  <a:cubicBezTo>
                    <a:pt x="242482" y="0"/>
                    <a:pt x="312420" y="69938"/>
                    <a:pt x="312420" y="156210"/>
                  </a:cubicBezTo>
                  <a:close/>
                </a:path>
              </a:pathLst>
            </a:custGeom>
            <a:solidFill>
              <a:srgbClr val="F6DE00"/>
            </a:solidFill>
            <a:ln w="6350"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A0C3930B-3332-42FA-9DC2-7C549D16FDC3}"/>
                </a:ext>
              </a:extLst>
            </p:cNvPr>
            <p:cNvSpPr/>
            <p:nvPr/>
          </p:nvSpPr>
          <p:spPr bwMode="ltGray">
            <a:xfrm>
              <a:off x="10745469" y="402590"/>
              <a:ext cx="314960" cy="314959"/>
            </a:xfrm>
            <a:custGeom>
              <a:avLst/>
              <a:gdLst>
                <a:gd name="connsiteX0" fmla="*/ 157480 w 314960"/>
                <a:gd name="connsiteY0" fmla="*/ 0 h 314959"/>
                <a:gd name="connsiteX1" fmla="*/ 0 w 314960"/>
                <a:gd name="connsiteY1" fmla="*/ 157480 h 314959"/>
                <a:gd name="connsiteX2" fmla="*/ 157480 w 314960"/>
                <a:gd name="connsiteY2" fmla="*/ 314960 h 314959"/>
                <a:gd name="connsiteX3" fmla="*/ 314961 w 314960"/>
                <a:gd name="connsiteY3" fmla="*/ 157480 h 314959"/>
                <a:gd name="connsiteX4" fmla="*/ 157480 w 314960"/>
                <a:gd name="connsiteY4" fmla="*/ 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0" h="314959">
                  <a:moveTo>
                    <a:pt x="157480" y="0"/>
                  </a:moveTo>
                  <a:cubicBezTo>
                    <a:pt x="70486" y="0"/>
                    <a:pt x="0" y="70485"/>
                    <a:pt x="0" y="157480"/>
                  </a:cubicBezTo>
                  <a:cubicBezTo>
                    <a:pt x="0" y="244475"/>
                    <a:pt x="70486" y="314960"/>
                    <a:pt x="157480" y="314960"/>
                  </a:cubicBezTo>
                  <a:cubicBezTo>
                    <a:pt x="244475" y="314960"/>
                    <a:pt x="314961" y="244475"/>
                    <a:pt x="314961" y="157480"/>
                  </a:cubicBezTo>
                  <a:cubicBezTo>
                    <a:pt x="314961" y="70485"/>
                    <a:pt x="244475" y="0"/>
                    <a:pt x="157480" y="0"/>
                  </a:cubicBezTo>
                  <a:close/>
                </a:path>
              </a:pathLst>
            </a:custGeom>
            <a:solidFill>
              <a:srgbClr val="F6DE00"/>
            </a:solidFill>
            <a:ln w="6350" cap="flat">
              <a:no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8739CEA9-A554-4DD6-9128-B83000DEABDD}"/>
                </a:ext>
              </a:extLst>
            </p:cNvPr>
            <p:cNvSpPr/>
            <p:nvPr/>
          </p:nvSpPr>
          <p:spPr bwMode="ltGray">
            <a:xfrm>
              <a:off x="10380345" y="403225"/>
              <a:ext cx="313690" cy="313690"/>
            </a:xfrm>
            <a:custGeom>
              <a:avLst/>
              <a:gdLst>
                <a:gd name="connsiteX0" fmla="*/ 313690 w 313690"/>
                <a:gd name="connsiteY0" fmla="*/ 156845 h 313690"/>
                <a:gd name="connsiteX1" fmla="*/ 156845 w 313690"/>
                <a:gd name="connsiteY1" fmla="*/ 313690 h 313690"/>
                <a:gd name="connsiteX2" fmla="*/ 0 w 313690"/>
                <a:gd name="connsiteY2" fmla="*/ 156845 h 313690"/>
                <a:gd name="connsiteX3" fmla="*/ 156845 w 313690"/>
                <a:gd name="connsiteY3" fmla="*/ 0 h 313690"/>
                <a:gd name="connsiteX4" fmla="*/ 313690 w 313690"/>
                <a:gd name="connsiteY4" fmla="*/ 156845 h 313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 h="313690">
                  <a:moveTo>
                    <a:pt x="313690" y="156845"/>
                  </a:moveTo>
                  <a:cubicBezTo>
                    <a:pt x="313690" y="243468"/>
                    <a:pt x="243468" y="313690"/>
                    <a:pt x="156845" y="313690"/>
                  </a:cubicBezTo>
                  <a:cubicBezTo>
                    <a:pt x="70222" y="313690"/>
                    <a:pt x="0" y="243468"/>
                    <a:pt x="0" y="156845"/>
                  </a:cubicBezTo>
                  <a:cubicBezTo>
                    <a:pt x="0" y="70222"/>
                    <a:pt x="70223" y="0"/>
                    <a:pt x="156845" y="0"/>
                  </a:cubicBezTo>
                  <a:cubicBezTo>
                    <a:pt x="243469" y="0"/>
                    <a:pt x="313690" y="70222"/>
                    <a:pt x="313690" y="156845"/>
                  </a:cubicBezTo>
                  <a:close/>
                </a:path>
              </a:pathLst>
            </a:custGeom>
            <a:solidFill>
              <a:srgbClr val="F6DE00"/>
            </a:solidFill>
            <a:ln w="6350"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204E8547-6D14-4F5E-BBDF-D8B22D1B9463}"/>
                </a:ext>
              </a:extLst>
            </p:cNvPr>
            <p:cNvSpPr/>
            <p:nvPr/>
          </p:nvSpPr>
          <p:spPr bwMode="ltGray">
            <a:xfrm>
              <a:off x="10016490" y="405765"/>
              <a:ext cx="308609" cy="308609"/>
            </a:xfrm>
            <a:custGeom>
              <a:avLst/>
              <a:gdLst>
                <a:gd name="connsiteX0" fmla="*/ 154305 w 308609"/>
                <a:gd name="connsiteY0" fmla="*/ 0 h 308609"/>
                <a:gd name="connsiteX1" fmla="*/ 0 w 308609"/>
                <a:gd name="connsiteY1" fmla="*/ 154305 h 308609"/>
                <a:gd name="connsiteX2" fmla="*/ 154305 w 308609"/>
                <a:gd name="connsiteY2" fmla="*/ 308610 h 308609"/>
                <a:gd name="connsiteX3" fmla="*/ 308610 w 308609"/>
                <a:gd name="connsiteY3" fmla="*/ 154305 h 308609"/>
                <a:gd name="connsiteX4" fmla="*/ 154305 w 308609"/>
                <a:gd name="connsiteY4" fmla="*/ 0 h 30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609" h="308609">
                  <a:moveTo>
                    <a:pt x="154305" y="0"/>
                  </a:moveTo>
                  <a:cubicBezTo>
                    <a:pt x="69215" y="0"/>
                    <a:pt x="0" y="69215"/>
                    <a:pt x="0" y="154305"/>
                  </a:cubicBezTo>
                  <a:cubicBezTo>
                    <a:pt x="0" y="239395"/>
                    <a:pt x="69215" y="308610"/>
                    <a:pt x="154305" y="308610"/>
                  </a:cubicBezTo>
                  <a:cubicBezTo>
                    <a:pt x="239395" y="308610"/>
                    <a:pt x="308610" y="239395"/>
                    <a:pt x="308610" y="154305"/>
                  </a:cubicBezTo>
                  <a:cubicBezTo>
                    <a:pt x="308610" y="69215"/>
                    <a:pt x="240030" y="0"/>
                    <a:pt x="154305" y="0"/>
                  </a:cubicBezTo>
                  <a:close/>
                </a:path>
              </a:pathLst>
            </a:custGeom>
            <a:solidFill>
              <a:srgbClr val="F6DE00"/>
            </a:solidFill>
            <a:ln w="6350"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03D280B-4F16-4E53-A05F-79BB1FF46D74}"/>
                </a:ext>
              </a:extLst>
            </p:cNvPr>
            <p:cNvSpPr/>
            <p:nvPr/>
          </p:nvSpPr>
          <p:spPr bwMode="ltGray">
            <a:xfrm>
              <a:off x="9659619" y="41465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F6DE00"/>
            </a:solidFill>
            <a:ln w="6350"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0422EB92-564A-4A09-81D2-08FFC7A163DD}"/>
                </a:ext>
              </a:extLst>
            </p:cNvPr>
            <p:cNvSpPr/>
            <p:nvPr/>
          </p:nvSpPr>
          <p:spPr bwMode="ltGray">
            <a:xfrm>
              <a:off x="9310369" y="431165"/>
              <a:ext cx="257810" cy="257809"/>
            </a:xfrm>
            <a:custGeom>
              <a:avLst/>
              <a:gdLst>
                <a:gd name="connsiteX0" fmla="*/ 128905 w 257810"/>
                <a:gd name="connsiteY0" fmla="*/ 0 h 257809"/>
                <a:gd name="connsiteX1" fmla="*/ 0 w 257810"/>
                <a:gd name="connsiteY1" fmla="*/ 128905 h 257809"/>
                <a:gd name="connsiteX2" fmla="*/ 128905 w 257810"/>
                <a:gd name="connsiteY2" fmla="*/ 257810 h 257809"/>
                <a:gd name="connsiteX3" fmla="*/ 257811 w 257810"/>
                <a:gd name="connsiteY3" fmla="*/ 128905 h 257809"/>
                <a:gd name="connsiteX4" fmla="*/ 128905 w 257810"/>
                <a:gd name="connsiteY4" fmla="*/ 0 h 257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810" h="257809">
                  <a:moveTo>
                    <a:pt x="128905" y="0"/>
                  </a:moveTo>
                  <a:cubicBezTo>
                    <a:pt x="57786" y="0"/>
                    <a:pt x="0" y="57785"/>
                    <a:pt x="0" y="128905"/>
                  </a:cubicBezTo>
                  <a:cubicBezTo>
                    <a:pt x="0" y="200025"/>
                    <a:pt x="57786" y="257810"/>
                    <a:pt x="128905" y="257810"/>
                  </a:cubicBezTo>
                  <a:cubicBezTo>
                    <a:pt x="200025" y="257810"/>
                    <a:pt x="257811" y="200025"/>
                    <a:pt x="257811" y="128905"/>
                  </a:cubicBezTo>
                  <a:cubicBezTo>
                    <a:pt x="257811" y="57785"/>
                    <a:pt x="200025" y="0"/>
                    <a:pt x="128905" y="0"/>
                  </a:cubicBezTo>
                  <a:close/>
                </a:path>
              </a:pathLst>
            </a:custGeom>
            <a:solidFill>
              <a:srgbClr val="F6DE00"/>
            </a:solidFill>
            <a:ln w="6350"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C2A482E7-1D9D-4EB2-AA47-5CB902EDB498}"/>
                </a:ext>
              </a:extLst>
            </p:cNvPr>
            <p:cNvSpPr/>
            <p:nvPr/>
          </p:nvSpPr>
          <p:spPr bwMode="ltGray">
            <a:xfrm>
              <a:off x="8970645" y="457200"/>
              <a:ext cx="205740" cy="205740"/>
            </a:xfrm>
            <a:custGeom>
              <a:avLst/>
              <a:gdLst>
                <a:gd name="connsiteX0" fmla="*/ 205740 w 205740"/>
                <a:gd name="connsiteY0" fmla="*/ 102870 h 205740"/>
                <a:gd name="connsiteX1" fmla="*/ 102870 w 205740"/>
                <a:gd name="connsiteY1" fmla="*/ 205740 h 205740"/>
                <a:gd name="connsiteX2" fmla="*/ 0 w 205740"/>
                <a:gd name="connsiteY2" fmla="*/ 102870 h 205740"/>
                <a:gd name="connsiteX3" fmla="*/ 102870 w 205740"/>
                <a:gd name="connsiteY3" fmla="*/ 0 h 205740"/>
                <a:gd name="connsiteX4" fmla="*/ 205740 w 205740"/>
                <a:gd name="connsiteY4" fmla="*/ 102870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 h="205740">
                  <a:moveTo>
                    <a:pt x="205740" y="102870"/>
                  </a:moveTo>
                  <a:cubicBezTo>
                    <a:pt x="205740" y="159684"/>
                    <a:pt x="159684" y="205740"/>
                    <a:pt x="102870" y="205740"/>
                  </a:cubicBezTo>
                  <a:cubicBezTo>
                    <a:pt x="46057" y="205740"/>
                    <a:pt x="0" y="159683"/>
                    <a:pt x="0" y="102870"/>
                  </a:cubicBezTo>
                  <a:cubicBezTo>
                    <a:pt x="0" y="46056"/>
                    <a:pt x="46057" y="0"/>
                    <a:pt x="102870" y="0"/>
                  </a:cubicBezTo>
                  <a:cubicBezTo>
                    <a:pt x="159684" y="0"/>
                    <a:pt x="205740" y="46056"/>
                    <a:pt x="205740" y="102870"/>
                  </a:cubicBezTo>
                  <a:close/>
                </a:path>
              </a:pathLst>
            </a:custGeom>
            <a:solidFill>
              <a:srgbClr val="F6DE00"/>
            </a:solidFill>
            <a:ln w="6350"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9B7C419D-476C-4DE3-AFC0-56960417DB96}"/>
                </a:ext>
              </a:extLst>
            </p:cNvPr>
            <p:cNvSpPr/>
            <p:nvPr/>
          </p:nvSpPr>
          <p:spPr bwMode="ltGray">
            <a:xfrm>
              <a:off x="8636634" y="488950"/>
              <a:ext cx="142240" cy="142240"/>
            </a:xfrm>
            <a:custGeom>
              <a:avLst/>
              <a:gdLst>
                <a:gd name="connsiteX0" fmla="*/ 71120 w 142240"/>
                <a:gd name="connsiteY0" fmla="*/ 0 h 142240"/>
                <a:gd name="connsiteX1" fmla="*/ 0 w 142240"/>
                <a:gd name="connsiteY1" fmla="*/ 71120 h 142240"/>
                <a:gd name="connsiteX2" fmla="*/ 71120 w 142240"/>
                <a:gd name="connsiteY2" fmla="*/ 142240 h 142240"/>
                <a:gd name="connsiteX3" fmla="*/ 142240 w 142240"/>
                <a:gd name="connsiteY3" fmla="*/ 71120 h 142240"/>
                <a:gd name="connsiteX4" fmla="*/ 71120 w 142240"/>
                <a:gd name="connsiteY4" fmla="*/ 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0"/>
                  </a:moveTo>
                  <a:cubicBezTo>
                    <a:pt x="31750" y="0"/>
                    <a:pt x="0" y="31750"/>
                    <a:pt x="0" y="71120"/>
                  </a:cubicBezTo>
                  <a:cubicBezTo>
                    <a:pt x="0" y="110490"/>
                    <a:pt x="31750" y="142240"/>
                    <a:pt x="71120" y="142240"/>
                  </a:cubicBezTo>
                  <a:cubicBezTo>
                    <a:pt x="110490" y="142240"/>
                    <a:pt x="142240" y="110490"/>
                    <a:pt x="142240" y="71120"/>
                  </a:cubicBezTo>
                  <a:cubicBezTo>
                    <a:pt x="141605" y="31750"/>
                    <a:pt x="109855" y="0"/>
                    <a:pt x="71120" y="0"/>
                  </a:cubicBezTo>
                  <a:close/>
                </a:path>
              </a:pathLst>
            </a:custGeom>
            <a:solidFill>
              <a:srgbClr val="F6DE00"/>
            </a:solidFill>
            <a:ln w="6350" cap="flat">
              <a:no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43903524-BA24-40EC-B20B-6764972EA80C}"/>
                </a:ext>
              </a:extLst>
            </p:cNvPr>
            <p:cNvSpPr/>
            <p:nvPr/>
          </p:nvSpPr>
          <p:spPr bwMode="ltGray">
            <a:xfrm>
              <a:off x="8300719" y="519430"/>
              <a:ext cx="81280" cy="81280"/>
            </a:xfrm>
            <a:custGeom>
              <a:avLst/>
              <a:gdLst>
                <a:gd name="connsiteX0" fmla="*/ 81280 w 81280"/>
                <a:gd name="connsiteY0" fmla="*/ 40640 h 81280"/>
                <a:gd name="connsiteX1" fmla="*/ 40640 w 81280"/>
                <a:gd name="connsiteY1" fmla="*/ 81280 h 81280"/>
                <a:gd name="connsiteX2" fmla="*/ 0 w 81280"/>
                <a:gd name="connsiteY2" fmla="*/ 40640 h 81280"/>
                <a:gd name="connsiteX3" fmla="*/ 40640 w 81280"/>
                <a:gd name="connsiteY3" fmla="*/ 0 h 81280"/>
                <a:gd name="connsiteX4" fmla="*/ 81280 w 81280"/>
                <a:gd name="connsiteY4" fmla="*/ 40640 h 81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 h="81280">
                  <a:moveTo>
                    <a:pt x="81280" y="40640"/>
                  </a:moveTo>
                  <a:cubicBezTo>
                    <a:pt x="81280" y="63085"/>
                    <a:pt x="63085" y="81280"/>
                    <a:pt x="40640" y="81280"/>
                  </a:cubicBezTo>
                  <a:cubicBezTo>
                    <a:pt x="18195" y="81280"/>
                    <a:pt x="0" y="63085"/>
                    <a:pt x="0" y="40640"/>
                  </a:cubicBezTo>
                  <a:cubicBezTo>
                    <a:pt x="0" y="18195"/>
                    <a:pt x="18195" y="0"/>
                    <a:pt x="40640" y="0"/>
                  </a:cubicBezTo>
                  <a:cubicBezTo>
                    <a:pt x="63085" y="0"/>
                    <a:pt x="81280" y="18195"/>
                    <a:pt x="81280" y="40640"/>
                  </a:cubicBezTo>
                  <a:close/>
                </a:path>
              </a:pathLst>
            </a:custGeom>
            <a:solidFill>
              <a:srgbClr val="F6DE00"/>
            </a:solidFill>
            <a:ln w="6350" cap="flat">
              <a:no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2D0079DA-2033-44A8-AEED-06C7109FD74D}"/>
                </a:ext>
              </a:extLst>
            </p:cNvPr>
            <p:cNvSpPr/>
            <p:nvPr/>
          </p:nvSpPr>
          <p:spPr bwMode="ltGray">
            <a:xfrm>
              <a:off x="7956550" y="541019"/>
              <a:ext cx="38100" cy="38100"/>
            </a:xfrm>
            <a:custGeom>
              <a:avLst/>
              <a:gdLst>
                <a:gd name="connsiteX0" fmla="*/ 19050 w 38100"/>
                <a:gd name="connsiteY0" fmla="*/ 0 h 38100"/>
                <a:gd name="connsiteX1" fmla="*/ 0 w 38100"/>
                <a:gd name="connsiteY1" fmla="*/ 19050 h 38100"/>
                <a:gd name="connsiteX2" fmla="*/ 19050 w 38100"/>
                <a:gd name="connsiteY2" fmla="*/ 38100 h 38100"/>
                <a:gd name="connsiteX3" fmla="*/ 38100 w 38100"/>
                <a:gd name="connsiteY3" fmla="*/ 19050 h 38100"/>
                <a:gd name="connsiteX4" fmla="*/ 1905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050" y="0"/>
                  </a:moveTo>
                  <a:cubicBezTo>
                    <a:pt x="8890" y="0"/>
                    <a:pt x="0" y="8255"/>
                    <a:pt x="0" y="19050"/>
                  </a:cubicBezTo>
                  <a:cubicBezTo>
                    <a:pt x="0" y="29845"/>
                    <a:pt x="8255" y="38100"/>
                    <a:pt x="19050" y="38100"/>
                  </a:cubicBezTo>
                  <a:cubicBezTo>
                    <a:pt x="29845" y="38100"/>
                    <a:pt x="38100" y="29845"/>
                    <a:pt x="38100" y="19050"/>
                  </a:cubicBezTo>
                  <a:cubicBezTo>
                    <a:pt x="38100" y="8255"/>
                    <a:pt x="29210" y="0"/>
                    <a:pt x="19050" y="0"/>
                  </a:cubicBezTo>
                  <a:close/>
                </a:path>
              </a:pathLst>
            </a:custGeom>
            <a:solidFill>
              <a:srgbClr val="F6DE00"/>
            </a:solidFill>
            <a:ln w="6350"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1E753851-D0A4-47BB-9CCA-BC3E2BE4DC7C}"/>
                </a:ext>
              </a:extLst>
            </p:cNvPr>
            <p:cNvSpPr/>
            <p:nvPr/>
          </p:nvSpPr>
          <p:spPr bwMode="ltGray">
            <a:xfrm>
              <a:off x="11859260" y="52705"/>
              <a:ext cx="283209" cy="283210"/>
            </a:xfrm>
            <a:custGeom>
              <a:avLst/>
              <a:gdLst>
                <a:gd name="connsiteX0" fmla="*/ 283210 w 283209"/>
                <a:gd name="connsiteY0" fmla="*/ 141605 h 283210"/>
                <a:gd name="connsiteX1" fmla="*/ 141604 w 283209"/>
                <a:gd name="connsiteY1" fmla="*/ 283210 h 283210"/>
                <a:gd name="connsiteX2" fmla="*/ -1 w 283209"/>
                <a:gd name="connsiteY2" fmla="*/ 141605 h 283210"/>
                <a:gd name="connsiteX3" fmla="*/ 141604 w 283209"/>
                <a:gd name="connsiteY3" fmla="*/ 0 h 283210"/>
                <a:gd name="connsiteX4" fmla="*/ 283210 w 283209"/>
                <a:gd name="connsiteY4" fmla="*/ 141605 h 283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209" h="283210">
                  <a:moveTo>
                    <a:pt x="283210" y="141605"/>
                  </a:moveTo>
                  <a:cubicBezTo>
                    <a:pt x="283210" y="219811"/>
                    <a:pt x="219811" y="283210"/>
                    <a:pt x="141604" y="283210"/>
                  </a:cubicBezTo>
                  <a:cubicBezTo>
                    <a:pt x="63398" y="283210"/>
                    <a:pt x="-1" y="219811"/>
                    <a:pt x="-1" y="141605"/>
                  </a:cubicBezTo>
                  <a:cubicBezTo>
                    <a:pt x="-1" y="63399"/>
                    <a:pt x="63398" y="0"/>
                    <a:pt x="141604" y="0"/>
                  </a:cubicBezTo>
                  <a:cubicBezTo>
                    <a:pt x="219810" y="0"/>
                    <a:pt x="283210" y="63399"/>
                    <a:pt x="283210" y="141605"/>
                  </a:cubicBezTo>
                  <a:close/>
                </a:path>
              </a:pathLst>
            </a:custGeom>
            <a:solidFill>
              <a:srgbClr val="F6DE00"/>
            </a:solidFill>
            <a:ln w="6350"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654704A6-8FBF-4DC1-BD2A-9B75223D8CC3}"/>
                </a:ext>
              </a:extLst>
            </p:cNvPr>
            <p:cNvSpPr/>
            <p:nvPr/>
          </p:nvSpPr>
          <p:spPr bwMode="ltGray">
            <a:xfrm>
              <a:off x="11482070" y="4191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F6DE00"/>
            </a:solidFill>
            <a:ln w="6350"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40ADD7E4-0BD7-4EB3-8EA4-A2F5AF7AC444}"/>
                </a:ext>
              </a:extLst>
            </p:cNvPr>
            <p:cNvSpPr/>
            <p:nvPr/>
          </p:nvSpPr>
          <p:spPr bwMode="ltGray">
            <a:xfrm>
              <a:off x="11111230" y="36830"/>
              <a:ext cx="314959" cy="314960"/>
            </a:xfrm>
            <a:custGeom>
              <a:avLst/>
              <a:gdLst>
                <a:gd name="connsiteX0" fmla="*/ 314960 w 314959"/>
                <a:gd name="connsiteY0" fmla="*/ 157480 h 314960"/>
                <a:gd name="connsiteX1" fmla="*/ 157480 w 314959"/>
                <a:gd name="connsiteY1" fmla="*/ 314960 h 314960"/>
                <a:gd name="connsiteX2" fmla="*/ 0 w 314959"/>
                <a:gd name="connsiteY2" fmla="*/ 157480 h 314960"/>
                <a:gd name="connsiteX3" fmla="*/ 157480 w 314959"/>
                <a:gd name="connsiteY3" fmla="*/ 0 h 314960"/>
                <a:gd name="connsiteX4" fmla="*/ 314960 w 314959"/>
                <a:gd name="connsiteY4" fmla="*/ 15748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60">
                  <a:moveTo>
                    <a:pt x="314960" y="157480"/>
                  </a:moveTo>
                  <a:cubicBezTo>
                    <a:pt x="314960" y="244454"/>
                    <a:pt x="244454" y="314960"/>
                    <a:pt x="157480" y="314960"/>
                  </a:cubicBezTo>
                  <a:cubicBezTo>
                    <a:pt x="70506" y="314960"/>
                    <a:pt x="0" y="244454"/>
                    <a:pt x="0" y="157480"/>
                  </a:cubicBezTo>
                  <a:cubicBezTo>
                    <a:pt x="0" y="70506"/>
                    <a:pt x="70506" y="0"/>
                    <a:pt x="157480" y="0"/>
                  </a:cubicBezTo>
                  <a:cubicBezTo>
                    <a:pt x="244454" y="0"/>
                    <a:pt x="314960" y="70506"/>
                    <a:pt x="314960" y="157480"/>
                  </a:cubicBezTo>
                  <a:close/>
                </a:path>
              </a:pathLst>
            </a:custGeom>
            <a:solidFill>
              <a:srgbClr val="F6DE00"/>
            </a:solidFill>
            <a:ln w="6350"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8D7C9A9F-B8BF-4343-B5CC-2365D722967B}"/>
                </a:ext>
              </a:extLst>
            </p:cNvPr>
            <p:cNvSpPr/>
            <p:nvPr/>
          </p:nvSpPr>
          <p:spPr bwMode="ltGray">
            <a:xfrm>
              <a:off x="10744200" y="35560"/>
              <a:ext cx="317500" cy="317500"/>
            </a:xfrm>
            <a:custGeom>
              <a:avLst/>
              <a:gdLst>
                <a:gd name="connsiteX0" fmla="*/ 317500 w 317500"/>
                <a:gd name="connsiteY0" fmla="*/ 158750 h 317500"/>
                <a:gd name="connsiteX1" fmla="*/ 158750 w 317500"/>
                <a:gd name="connsiteY1" fmla="*/ 317500 h 317500"/>
                <a:gd name="connsiteX2" fmla="*/ 0 w 317500"/>
                <a:gd name="connsiteY2" fmla="*/ 158750 h 317500"/>
                <a:gd name="connsiteX3" fmla="*/ 158750 w 317500"/>
                <a:gd name="connsiteY3" fmla="*/ 0 h 317500"/>
                <a:gd name="connsiteX4" fmla="*/ 317500 w 317500"/>
                <a:gd name="connsiteY4" fmla="*/ 158750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0" h="317500">
                  <a:moveTo>
                    <a:pt x="317500" y="158750"/>
                  </a:moveTo>
                  <a:cubicBezTo>
                    <a:pt x="317500" y="246425"/>
                    <a:pt x="246425" y="317500"/>
                    <a:pt x="158750" y="317500"/>
                  </a:cubicBezTo>
                  <a:cubicBezTo>
                    <a:pt x="71075" y="317500"/>
                    <a:pt x="0" y="246425"/>
                    <a:pt x="0" y="158750"/>
                  </a:cubicBezTo>
                  <a:cubicBezTo>
                    <a:pt x="0" y="71075"/>
                    <a:pt x="71075" y="0"/>
                    <a:pt x="158750" y="0"/>
                  </a:cubicBezTo>
                  <a:cubicBezTo>
                    <a:pt x="246425" y="0"/>
                    <a:pt x="317500" y="71075"/>
                    <a:pt x="317500" y="158750"/>
                  </a:cubicBezTo>
                  <a:close/>
                </a:path>
              </a:pathLst>
            </a:custGeom>
            <a:solidFill>
              <a:srgbClr val="F6DE00"/>
            </a:solidFill>
            <a:ln w="6350"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2165C063-DF05-4FE3-BBAC-2EFAEDA9F947}"/>
                </a:ext>
              </a:extLst>
            </p:cNvPr>
            <p:cNvSpPr/>
            <p:nvPr/>
          </p:nvSpPr>
          <p:spPr bwMode="ltGray">
            <a:xfrm>
              <a:off x="10379075" y="36195"/>
              <a:ext cx="316230" cy="316230"/>
            </a:xfrm>
            <a:custGeom>
              <a:avLst/>
              <a:gdLst>
                <a:gd name="connsiteX0" fmla="*/ 316230 w 316230"/>
                <a:gd name="connsiteY0" fmla="*/ 158115 h 316230"/>
                <a:gd name="connsiteX1" fmla="*/ 158115 w 316230"/>
                <a:gd name="connsiteY1" fmla="*/ 316230 h 316230"/>
                <a:gd name="connsiteX2" fmla="*/ 0 w 316230"/>
                <a:gd name="connsiteY2" fmla="*/ 158115 h 316230"/>
                <a:gd name="connsiteX3" fmla="*/ 158115 w 316230"/>
                <a:gd name="connsiteY3" fmla="*/ 0 h 316230"/>
                <a:gd name="connsiteX4" fmla="*/ 316230 w 316230"/>
                <a:gd name="connsiteY4" fmla="*/ 158115 h 316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30">
                  <a:moveTo>
                    <a:pt x="316230" y="158115"/>
                  </a:moveTo>
                  <a:cubicBezTo>
                    <a:pt x="316230" y="245440"/>
                    <a:pt x="245440" y="316230"/>
                    <a:pt x="158115" y="316230"/>
                  </a:cubicBezTo>
                  <a:cubicBezTo>
                    <a:pt x="70791" y="316230"/>
                    <a:pt x="0" y="245440"/>
                    <a:pt x="0" y="158115"/>
                  </a:cubicBezTo>
                  <a:cubicBezTo>
                    <a:pt x="0" y="70791"/>
                    <a:pt x="70790" y="0"/>
                    <a:pt x="158115" y="0"/>
                  </a:cubicBezTo>
                  <a:cubicBezTo>
                    <a:pt x="245439" y="0"/>
                    <a:pt x="316230" y="70791"/>
                    <a:pt x="316230" y="158115"/>
                  </a:cubicBezTo>
                  <a:close/>
                </a:path>
              </a:pathLst>
            </a:custGeom>
            <a:solidFill>
              <a:srgbClr val="F6DE00"/>
            </a:solidFill>
            <a:ln w="6350"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B9428D15-0D60-4B8A-B6EA-AC1FE9B91B30}"/>
                </a:ext>
              </a:extLst>
            </p:cNvPr>
            <p:cNvSpPr/>
            <p:nvPr/>
          </p:nvSpPr>
          <p:spPr bwMode="ltGray">
            <a:xfrm>
              <a:off x="10015219" y="38734"/>
              <a:ext cx="311150" cy="311149"/>
            </a:xfrm>
            <a:custGeom>
              <a:avLst/>
              <a:gdLst>
                <a:gd name="connsiteX0" fmla="*/ 155575 w 311150"/>
                <a:gd name="connsiteY0" fmla="*/ 0 h 311149"/>
                <a:gd name="connsiteX1" fmla="*/ 0 w 311150"/>
                <a:gd name="connsiteY1" fmla="*/ 155575 h 311149"/>
                <a:gd name="connsiteX2" fmla="*/ 155575 w 311150"/>
                <a:gd name="connsiteY2" fmla="*/ 311150 h 311149"/>
                <a:gd name="connsiteX3" fmla="*/ 311150 w 311150"/>
                <a:gd name="connsiteY3" fmla="*/ 155575 h 311149"/>
                <a:gd name="connsiteX4" fmla="*/ 155575 w 311150"/>
                <a:gd name="connsiteY4" fmla="*/ 0 h 311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0" h="311149">
                  <a:moveTo>
                    <a:pt x="155575" y="0"/>
                  </a:moveTo>
                  <a:cubicBezTo>
                    <a:pt x="69850" y="0"/>
                    <a:pt x="0" y="69850"/>
                    <a:pt x="0" y="155575"/>
                  </a:cubicBezTo>
                  <a:cubicBezTo>
                    <a:pt x="0" y="241300"/>
                    <a:pt x="69850" y="311150"/>
                    <a:pt x="155575" y="311150"/>
                  </a:cubicBezTo>
                  <a:cubicBezTo>
                    <a:pt x="241300" y="311150"/>
                    <a:pt x="311150" y="241300"/>
                    <a:pt x="311150" y="155575"/>
                  </a:cubicBezTo>
                  <a:cubicBezTo>
                    <a:pt x="311150" y="69850"/>
                    <a:pt x="241936" y="0"/>
                    <a:pt x="155575" y="0"/>
                  </a:cubicBezTo>
                  <a:close/>
                </a:path>
              </a:pathLst>
            </a:custGeom>
            <a:solidFill>
              <a:srgbClr val="F6DE00"/>
            </a:solidFill>
            <a:ln w="6350"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49CDD8F5-D37A-4E50-A557-6390E67AD9A8}"/>
                </a:ext>
              </a:extLst>
            </p:cNvPr>
            <p:cNvSpPr/>
            <p:nvPr/>
          </p:nvSpPr>
          <p:spPr bwMode="ltGray">
            <a:xfrm>
              <a:off x="9657080" y="46355"/>
              <a:ext cx="295909" cy="295910"/>
            </a:xfrm>
            <a:custGeom>
              <a:avLst/>
              <a:gdLst>
                <a:gd name="connsiteX0" fmla="*/ 295910 w 295909"/>
                <a:gd name="connsiteY0" fmla="*/ 147955 h 295910"/>
                <a:gd name="connsiteX1" fmla="*/ 147955 w 295909"/>
                <a:gd name="connsiteY1" fmla="*/ 295910 h 295910"/>
                <a:gd name="connsiteX2" fmla="*/ 0 w 295909"/>
                <a:gd name="connsiteY2" fmla="*/ 147955 h 295910"/>
                <a:gd name="connsiteX3" fmla="*/ 147955 w 295909"/>
                <a:gd name="connsiteY3" fmla="*/ 0 h 295910"/>
                <a:gd name="connsiteX4" fmla="*/ 295910 w 295909"/>
                <a:gd name="connsiteY4" fmla="*/ 147955 h 295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09" h="295910">
                  <a:moveTo>
                    <a:pt x="295910" y="147955"/>
                  </a:moveTo>
                  <a:cubicBezTo>
                    <a:pt x="295910" y="229668"/>
                    <a:pt x="229668" y="295910"/>
                    <a:pt x="147955" y="295910"/>
                  </a:cubicBezTo>
                  <a:cubicBezTo>
                    <a:pt x="66241" y="295910"/>
                    <a:pt x="0" y="229668"/>
                    <a:pt x="0" y="147955"/>
                  </a:cubicBezTo>
                  <a:cubicBezTo>
                    <a:pt x="0" y="66242"/>
                    <a:pt x="66241" y="0"/>
                    <a:pt x="147955" y="0"/>
                  </a:cubicBezTo>
                  <a:cubicBezTo>
                    <a:pt x="229668" y="0"/>
                    <a:pt x="295910" y="66242"/>
                    <a:pt x="295910" y="147955"/>
                  </a:cubicBezTo>
                  <a:close/>
                </a:path>
              </a:pathLst>
            </a:custGeom>
            <a:solidFill>
              <a:srgbClr val="F6DE00"/>
            </a:solidFill>
            <a:ln w="6350"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C0B073CC-B047-4777-8681-ECCFB75B70B7}"/>
                </a:ext>
              </a:extLst>
            </p:cNvPr>
            <p:cNvSpPr/>
            <p:nvPr/>
          </p:nvSpPr>
          <p:spPr bwMode="ltGray">
            <a:xfrm>
              <a:off x="9307194" y="62230"/>
              <a:ext cx="264160" cy="264160"/>
            </a:xfrm>
            <a:custGeom>
              <a:avLst/>
              <a:gdLst>
                <a:gd name="connsiteX0" fmla="*/ 132080 w 264160"/>
                <a:gd name="connsiteY0" fmla="*/ 0 h 264160"/>
                <a:gd name="connsiteX1" fmla="*/ 0 w 264160"/>
                <a:gd name="connsiteY1" fmla="*/ 132080 h 264160"/>
                <a:gd name="connsiteX2" fmla="*/ 132080 w 264160"/>
                <a:gd name="connsiteY2" fmla="*/ 264160 h 264160"/>
                <a:gd name="connsiteX3" fmla="*/ 264161 w 264160"/>
                <a:gd name="connsiteY3" fmla="*/ 132080 h 264160"/>
                <a:gd name="connsiteX4" fmla="*/ 132080 w 264160"/>
                <a:gd name="connsiteY4" fmla="*/ 0 h 26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 h="264160">
                  <a:moveTo>
                    <a:pt x="132080" y="0"/>
                  </a:moveTo>
                  <a:cubicBezTo>
                    <a:pt x="59055" y="0"/>
                    <a:pt x="0" y="59055"/>
                    <a:pt x="0" y="132080"/>
                  </a:cubicBezTo>
                  <a:cubicBezTo>
                    <a:pt x="0" y="205105"/>
                    <a:pt x="59055" y="264160"/>
                    <a:pt x="132080" y="264160"/>
                  </a:cubicBezTo>
                  <a:cubicBezTo>
                    <a:pt x="205105" y="264160"/>
                    <a:pt x="264161" y="205105"/>
                    <a:pt x="264161" y="132080"/>
                  </a:cubicBezTo>
                  <a:cubicBezTo>
                    <a:pt x="264161" y="59055"/>
                    <a:pt x="205105" y="0"/>
                    <a:pt x="132080" y="0"/>
                  </a:cubicBezTo>
                  <a:close/>
                </a:path>
              </a:pathLst>
            </a:custGeom>
            <a:solidFill>
              <a:srgbClr val="F6DE00"/>
            </a:solidFill>
            <a:ln w="6350"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0EAC4F56-EBF1-4D92-8C71-49311F1FCA1A}"/>
                </a:ext>
              </a:extLst>
            </p:cNvPr>
            <p:cNvSpPr/>
            <p:nvPr/>
          </p:nvSpPr>
          <p:spPr bwMode="ltGray">
            <a:xfrm>
              <a:off x="8966834" y="87630"/>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F6DE00"/>
            </a:solidFill>
            <a:ln w="6350"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4AC94E81-6DD7-44AC-B43D-62A18042D994}"/>
                </a:ext>
              </a:extLst>
            </p:cNvPr>
            <p:cNvSpPr/>
            <p:nvPr/>
          </p:nvSpPr>
          <p:spPr bwMode="ltGray">
            <a:xfrm>
              <a:off x="8632825" y="119380"/>
              <a:ext cx="149859" cy="149860"/>
            </a:xfrm>
            <a:custGeom>
              <a:avLst/>
              <a:gdLst>
                <a:gd name="connsiteX0" fmla="*/ 149860 w 149859"/>
                <a:gd name="connsiteY0" fmla="*/ 74930 h 149860"/>
                <a:gd name="connsiteX1" fmla="*/ 74930 w 149859"/>
                <a:gd name="connsiteY1" fmla="*/ 149860 h 149860"/>
                <a:gd name="connsiteX2" fmla="*/ -1 w 149859"/>
                <a:gd name="connsiteY2" fmla="*/ 74930 h 149860"/>
                <a:gd name="connsiteX3" fmla="*/ 74930 w 149859"/>
                <a:gd name="connsiteY3" fmla="*/ 0 h 149860"/>
                <a:gd name="connsiteX4" fmla="*/ 149860 w 149859"/>
                <a:gd name="connsiteY4" fmla="*/ 74930 h 14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59" h="149860">
                  <a:moveTo>
                    <a:pt x="149860" y="74930"/>
                  </a:moveTo>
                  <a:cubicBezTo>
                    <a:pt x="149860" y="116313"/>
                    <a:pt x="116312" y="149860"/>
                    <a:pt x="74930" y="149860"/>
                  </a:cubicBezTo>
                  <a:cubicBezTo>
                    <a:pt x="33547" y="149860"/>
                    <a:pt x="-1" y="116313"/>
                    <a:pt x="-1" y="74930"/>
                  </a:cubicBezTo>
                  <a:cubicBezTo>
                    <a:pt x="-1" y="33547"/>
                    <a:pt x="33547" y="0"/>
                    <a:pt x="74930" y="0"/>
                  </a:cubicBezTo>
                  <a:cubicBezTo>
                    <a:pt x="116312" y="0"/>
                    <a:pt x="149860" y="33547"/>
                    <a:pt x="149860" y="74930"/>
                  </a:cubicBezTo>
                  <a:close/>
                </a:path>
              </a:pathLst>
            </a:custGeom>
            <a:solidFill>
              <a:srgbClr val="F6DE00"/>
            </a:solidFill>
            <a:ln w="6350"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6A4B7B76-0C38-4607-92E3-F8DE5AD39FC3}"/>
                </a:ext>
              </a:extLst>
            </p:cNvPr>
            <p:cNvSpPr/>
            <p:nvPr/>
          </p:nvSpPr>
          <p:spPr bwMode="ltGray">
            <a:xfrm>
              <a:off x="8298180" y="151129"/>
              <a:ext cx="86359" cy="86360"/>
            </a:xfrm>
            <a:custGeom>
              <a:avLst/>
              <a:gdLst>
                <a:gd name="connsiteX0" fmla="*/ 43180 w 86359"/>
                <a:gd name="connsiteY0" fmla="*/ 86360 h 86360"/>
                <a:gd name="connsiteX1" fmla="*/ 86360 w 86359"/>
                <a:gd name="connsiteY1" fmla="*/ 43180 h 86360"/>
                <a:gd name="connsiteX2" fmla="*/ 43180 w 86359"/>
                <a:gd name="connsiteY2" fmla="*/ 0 h 86360"/>
                <a:gd name="connsiteX3" fmla="*/ 0 w 86359"/>
                <a:gd name="connsiteY3" fmla="*/ 43180 h 86360"/>
                <a:gd name="connsiteX4" fmla="*/ 43180 w 86359"/>
                <a:gd name="connsiteY4" fmla="*/ 86360 h 8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59" h="86360">
                  <a:moveTo>
                    <a:pt x="43180" y="86360"/>
                  </a:moveTo>
                  <a:cubicBezTo>
                    <a:pt x="67310" y="86360"/>
                    <a:pt x="86360" y="66675"/>
                    <a:pt x="86360" y="43180"/>
                  </a:cubicBezTo>
                  <a:cubicBezTo>
                    <a:pt x="86360" y="19685"/>
                    <a:pt x="66675" y="0"/>
                    <a:pt x="43180" y="0"/>
                  </a:cubicBezTo>
                  <a:cubicBezTo>
                    <a:pt x="19685" y="0"/>
                    <a:pt x="0" y="19685"/>
                    <a:pt x="0" y="43180"/>
                  </a:cubicBezTo>
                  <a:cubicBezTo>
                    <a:pt x="0" y="66675"/>
                    <a:pt x="19685" y="86360"/>
                    <a:pt x="43180" y="86360"/>
                  </a:cubicBezTo>
                  <a:close/>
                </a:path>
              </a:pathLst>
            </a:custGeom>
            <a:solidFill>
              <a:srgbClr val="F6DE00"/>
            </a:solidFill>
            <a:ln w="6350"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21DC2A0E-7020-45C9-BC57-04472F9C987E}"/>
                </a:ext>
              </a:extLst>
            </p:cNvPr>
            <p:cNvSpPr/>
            <p:nvPr/>
          </p:nvSpPr>
          <p:spPr bwMode="ltGray">
            <a:xfrm>
              <a:off x="7954644" y="172720"/>
              <a:ext cx="41910" cy="41909"/>
            </a:xfrm>
            <a:custGeom>
              <a:avLst/>
              <a:gdLst>
                <a:gd name="connsiteX0" fmla="*/ 20955 w 41910"/>
                <a:gd name="connsiteY0" fmla="*/ 41910 h 41909"/>
                <a:gd name="connsiteX1" fmla="*/ 41911 w 41910"/>
                <a:gd name="connsiteY1" fmla="*/ 20955 h 41909"/>
                <a:gd name="connsiteX2" fmla="*/ 20955 w 41910"/>
                <a:gd name="connsiteY2" fmla="*/ 0 h 41909"/>
                <a:gd name="connsiteX3" fmla="*/ 0 w 41910"/>
                <a:gd name="connsiteY3" fmla="*/ 20955 h 41909"/>
                <a:gd name="connsiteX4" fmla="*/ 20955 w 41910"/>
                <a:gd name="connsiteY4" fmla="*/ 41910 h 41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 h="41909">
                  <a:moveTo>
                    <a:pt x="20955" y="41910"/>
                  </a:moveTo>
                  <a:cubicBezTo>
                    <a:pt x="32386" y="41910"/>
                    <a:pt x="41911" y="32385"/>
                    <a:pt x="41911" y="20955"/>
                  </a:cubicBezTo>
                  <a:cubicBezTo>
                    <a:pt x="41911" y="9525"/>
                    <a:pt x="32386" y="0"/>
                    <a:pt x="20955" y="0"/>
                  </a:cubicBezTo>
                  <a:cubicBezTo>
                    <a:pt x="9525" y="0"/>
                    <a:pt x="0" y="9525"/>
                    <a:pt x="0" y="20955"/>
                  </a:cubicBezTo>
                  <a:cubicBezTo>
                    <a:pt x="0" y="32385"/>
                    <a:pt x="9525" y="41910"/>
                    <a:pt x="20955" y="41910"/>
                  </a:cubicBezTo>
                  <a:close/>
                </a:path>
              </a:pathLst>
            </a:custGeom>
            <a:solidFill>
              <a:srgbClr val="F6DE00"/>
            </a:solidFill>
            <a:ln w="6350"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F3E533FF-5CB5-4CB0-AE9A-386B940DA7A8}"/>
                </a:ext>
              </a:extLst>
            </p:cNvPr>
            <p:cNvSpPr/>
            <p:nvPr/>
          </p:nvSpPr>
          <p:spPr bwMode="ltGray">
            <a:xfrm>
              <a:off x="11935459" y="6632575"/>
              <a:ext cx="59690" cy="59690"/>
            </a:xfrm>
            <a:custGeom>
              <a:avLst/>
              <a:gdLst>
                <a:gd name="connsiteX0" fmla="*/ 29845 w 59690"/>
                <a:gd name="connsiteY0" fmla="*/ 0 h 59690"/>
                <a:gd name="connsiteX1" fmla="*/ 0 w 59690"/>
                <a:gd name="connsiteY1" fmla="*/ 29845 h 59690"/>
                <a:gd name="connsiteX2" fmla="*/ 29845 w 59690"/>
                <a:gd name="connsiteY2" fmla="*/ 59690 h 59690"/>
                <a:gd name="connsiteX3" fmla="*/ 59690 w 59690"/>
                <a:gd name="connsiteY3" fmla="*/ 29845 h 59690"/>
                <a:gd name="connsiteX4" fmla="*/ 29845 w 59690"/>
                <a:gd name="connsiteY4" fmla="*/ 0 h 59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0" h="59690">
                  <a:moveTo>
                    <a:pt x="29845" y="0"/>
                  </a:moveTo>
                  <a:cubicBezTo>
                    <a:pt x="13335" y="0"/>
                    <a:pt x="0" y="13335"/>
                    <a:pt x="0" y="29845"/>
                  </a:cubicBezTo>
                  <a:cubicBezTo>
                    <a:pt x="0" y="46355"/>
                    <a:pt x="13335" y="59690"/>
                    <a:pt x="29845" y="59690"/>
                  </a:cubicBezTo>
                  <a:cubicBezTo>
                    <a:pt x="46355" y="59690"/>
                    <a:pt x="59690" y="46355"/>
                    <a:pt x="59690" y="29845"/>
                  </a:cubicBezTo>
                  <a:cubicBezTo>
                    <a:pt x="59690" y="13335"/>
                    <a:pt x="46355" y="0"/>
                    <a:pt x="29845" y="0"/>
                  </a:cubicBezTo>
                  <a:close/>
                </a:path>
              </a:pathLst>
            </a:custGeom>
            <a:solidFill>
              <a:srgbClr val="EE0C3D"/>
            </a:solidFill>
            <a:ln w="6350"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85FE592A-6126-4BCC-ADE9-B89F6046E978}"/>
                </a:ext>
              </a:extLst>
            </p:cNvPr>
            <p:cNvSpPr/>
            <p:nvPr/>
          </p:nvSpPr>
          <p:spPr bwMode="ltGray">
            <a:xfrm>
              <a:off x="11542394" y="6605269"/>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57150" y="0"/>
                  </a:moveTo>
                  <a:cubicBezTo>
                    <a:pt x="25400" y="0"/>
                    <a:pt x="0" y="25400"/>
                    <a:pt x="0" y="57150"/>
                  </a:cubicBezTo>
                  <a:cubicBezTo>
                    <a:pt x="0" y="88900"/>
                    <a:pt x="25400" y="114300"/>
                    <a:pt x="57150" y="114300"/>
                  </a:cubicBezTo>
                  <a:cubicBezTo>
                    <a:pt x="88900" y="114300"/>
                    <a:pt x="114300" y="88900"/>
                    <a:pt x="114300" y="57150"/>
                  </a:cubicBezTo>
                  <a:cubicBezTo>
                    <a:pt x="114300" y="25400"/>
                    <a:pt x="88265" y="0"/>
                    <a:pt x="57150" y="0"/>
                  </a:cubicBezTo>
                  <a:close/>
                </a:path>
              </a:pathLst>
            </a:custGeom>
            <a:solidFill>
              <a:srgbClr val="EE0C3D"/>
            </a:solidFill>
            <a:ln w="6350"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A180C72B-7C4D-4F04-A71A-13563BA22F08}"/>
                </a:ext>
              </a:extLst>
            </p:cNvPr>
            <p:cNvSpPr/>
            <p:nvPr/>
          </p:nvSpPr>
          <p:spPr bwMode="ltGray">
            <a:xfrm>
              <a:off x="11143615" y="6572884"/>
              <a:ext cx="179069" cy="179070"/>
            </a:xfrm>
            <a:custGeom>
              <a:avLst/>
              <a:gdLst>
                <a:gd name="connsiteX0" fmla="*/ 89535 w 179069"/>
                <a:gd name="connsiteY0" fmla="*/ 0 h 179070"/>
                <a:gd name="connsiteX1" fmla="*/ 0 w 179069"/>
                <a:gd name="connsiteY1" fmla="*/ 89535 h 179070"/>
                <a:gd name="connsiteX2" fmla="*/ 89535 w 179069"/>
                <a:gd name="connsiteY2" fmla="*/ 179070 h 179070"/>
                <a:gd name="connsiteX3" fmla="*/ 179070 w 179069"/>
                <a:gd name="connsiteY3" fmla="*/ 89535 h 179070"/>
                <a:gd name="connsiteX4" fmla="*/ 89535 w 179069"/>
                <a:gd name="connsiteY4" fmla="*/ 0 h 179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69" h="179070">
                  <a:moveTo>
                    <a:pt x="89535" y="0"/>
                  </a:moveTo>
                  <a:cubicBezTo>
                    <a:pt x="40005" y="0"/>
                    <a:pt x="0" y="40005"/>
                    <a:pt x="0" y="89535"/>
                  </a:cubicBezTo>
                  <a:cubicBezTo>
                    <a:pt x="0" y="139065"/>
                    <a:pt x="40005" y="179070"/>
                    <a:pt x="89535" y="179070"/>
                  </a:cubicBezTo>
                  <a:cubicBezTo>
                    <a:pt x="139065" y="179070"/>
                    <a:pt x="179070" y="139065"/>
                    <a:pt x="179070" y="89535"/>
                  </a:cubicBezTo>
                  <a:cubicBezTo>
                    <a:pt x="179070" y="40005"/>
                    <a:pt x="139700" y="0"/>
                    <a:pt x="89535" y="0"/>
                  </a:cubicBezTo>
                  <a:close/>
                </a:path>
              </a:pathLst>
            </a:custGeom>
            <a:solidFill>
              <a:srgbClr val="EE0C3D"/>
            </a:solidFill>
            <a:ln w="6350"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405B22EB-7852-41F5-A287-EE3CC99E147E}"/>
                </a:ext>
              </a:extLst>
            </p:cNvPr>
            <p:cNvSpPr/>
            <p:nvPr/>
          </p:nvSpPr>
          <p:spPr bwMode="ltGray">
            <a:xfrm>
              <a:off x="10748645" y="6543675"/>
              <a:ext cx="237490" cy="237490"/>
            </a:xfrm>
            <a:custGeom>
              <a:avLst/>
              <a:gdLst>
                <a:gd name="connsiteX0" fmla="*/ 237490 w 237490"/>
                <a:gd name="connsiteY0" fmla="*/ 118745 h 237490"/>
                <a:gd name="connsiteX1" fmla="*/ 118745 w 237490"/>
                <a:gd name="connsiteY1" fmla="*/ 237489 h 237490"/>
                <a:gd name="connsiteX2" fmla="*/ 0 w 237490"/>
                <a:gd name="connsiteY2" fmla="*/ 118745 h 237490"/>
                <a:gd name="connsiteX3" fmla="*/ 118745 w 237490"/>
                <a:gd name="connsiteY3" fmla="*/ 0 h 237490"/>
                <a:gd name="connsiteX4" fmla="*/ 237490 w 237490"/>
                <a:gd name="connsiteY4" fmla="*/ 118745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237490" y="118745"/>
                  </a:moveTo>
                  <a:cubicBezTo>
                    <a:pt x="237490" y="184326"/>
                    <a:pt x="184326" y="237489"/>
                    <a:pt x="118745" y="237489"/>
                  </a:cubicBezTo>
                  <a:cubicBezTo>
                    <a:pt x="53164" y="237489"/>
                    <a:pt x="0" y="184325"/>
                    <a:pt x="0" y="118745"/>
                  </a:cubicBezTo>
                  <a:cubicBezTo>
                    <a:pt x="0" y="53163"/>
                    <a:pt x="53165" y="0"/>
                    <a:pt x="118745" y="0"/>
                  </a:cubicBezTo>
                  <a:cubicBezTo>
                    <a:pt x="184326" y="0"/>
                    <a:pt x="237490" y="53164"/>
                    <a:pt x="237490" y="118745"/>
                  </a:cubicBezTo>
                  <a:close/>
                </a:path>
              </a:pathLst>
            </a:custGeom>
            <a:solidFill>
              <a:srgbClr val="EE0C3D"/>
            </a:solidFill>
            <a:ln w="6350" cap="flat">
              <a:no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1C1968D3-C33A-4A33-BFDF-5C95BBE0FA63}"/>
                </a:ext>
              </a:extLst>
            </p:cNvPr>
            <p:cNvSpPr/>
            <p:nvPr/>
          </p:nvSpPr>
          <p:spPr bwMode="ltGray">
            <a:xfrm>
              <a:off x="10361930" y="652271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6"/>
                    <a:pt x="62864" y="279400"/>
                    <a:pt x="139700" y="279400"/>
                  </a:cubicBezTo>
                  <a:cubicBezTo>
                    <a:pt x="217170" y="279400"/>
                    <a:pt x="279400" y="216536"/>
                    <a:pt x="279400" y="139700"/>
                  </a:cubicBezTo>
                  <a:cubicBezTo>
                    <a:pt x="279400" y="62865"/>
                    <a:pt x="217170" y="0"/>
                    <a:pt x="139700" y="0"/>
                  </a:cubicBezTo>
                  <a:close/>
                </a:path>
              </a:pathLst>
            </a:custGeom>
            <a:solidFill>
              <a:srgbClr val="EE0C3D"/>
            </a:solidFill>
            <a:ln w="6350" cap="flat">
              <a:no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47DEDF3F-5742-44EE-A90A-B8965101D45E}"/>
                </a:ext>
              </a:extLst>
            </p:cNvPr>
            <p:cNvSpPr/>
            <p:nvPr/>
          </p:nvSpPr>
          <p:spPr bwMode="ltGray">
            <a:xfrm>
              <a:off x="9984740" y="6511290"/>
              <a:ext cx="302259" cy="302259"/>
            </a:xfrm>
            <a:custGeom>
              <a:avLst/>
              <a:gdLst>
                <a:gd name="connsiteX0" fmla="*/ 302260 w 302259"/>
                <a:gd name="connsiteY0" fmla="*/ 151130 h 302259"/>
                <a:gd name="connsiteX1" fmla="*/ 151130 w 302259"/>
                <a:gd name="connsiteY1" fmla="*/ 302260 h 302259"/>
                <a:gd name="connsiteX2" fmla="*/ -1 w 302259"/>
                <a:gd name="connsiteY2" fmla="*/ 151130 h 302259"/>
                <a:gd name="connsiteX3" fmla="*/ 151130 w 302259"/>
                <a:gd name="connsiteY3" fmla="*/ -1 h 302259"/>
                <a:gd name="connsiteX4" fmla="*/ 302260 w 302259"/>
                <a:gd name="connsiteY4" fmla="*/ 151130 h 30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59" h="302259">
                  <a:moveTo>
                    <a:pt x="302260" y="151130"/>
                  </a:moveTo>
                  <a:cubicBezTo>
                    <a:pt x="302260" y="234597"/>
                    <a:pt x="234597" y="302260"/>
                    <a:pt x="151130" y="302260"/>
                  </a:cubicBezTo>
                  <a:cubicBezTo>
                    <a:pt x="67663" y="302260"/>
                    <a:pt x="-1" y="234597"/>
                    <a:pt x="-1" y="151130"/>
                  </a:cubicBezTo>
                  <a:cubicBezTo>
                    <a:pt x="-1" y="67663"/>
                    <a:pt x="67663" y="-1"/>
                    <a:pt x="151130" y="-1"/>
                  </a:cubicBezTo>
                  <a:cubicBezTo>
                    <a:pt x="234597" y="-1"/>
                    <a:pt x="302260" y="67663"/>
                    <a:pt x="302260" y="151130"/>
                  </a:cubicBezTo>
                  <a:close/>
                </a:path>
              </a:pathLst>
            </a:custGeom>
            <a:solidFill>
              <a:srgbClr val="EE0C3D"/>
            </a:solidFill>
            <a:ln w="6350" cap="flat">
              <a:no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635E70C6-959E-4D27-9A74-F99EA6F59B35}"/>
                </a:ext>
              </a:extLst>
            </p:cNvPr>
            <p:cNvSpPr/>
            <p:nvPr/>
          </p:nvSpPr>
          <p:spPr bwMode="ltGray">
            <a:xfrm>
              <a:off x="9613900" y="6506210"/>
              <a:ext cx="312419" cy="312419"/>
            </a:xfrm>
            <a:custGeom>
              <a:avLst/>
              <a:gdLst>
                <a:gd name="connsiteX0" fmla="*/ 312420 w 312419"/>
                <a:gd name="connsiteY0" fmla="*/ 156210 h 312419"/>
                <a:gd name="connsiteX1" fmla="*/ 156210 w 312419"/>
                <a:gd name="connsiteY1" fmla="*/ 312420 h 312419"/>
                <a:gd name="connsiteX2" fmla="*/ 0 w 312419"/>
                <a:gd name="connsiteY2" fmla="*/ 156210 h 312419"/>
                <a:gd name="connsiteX3" fmla="*/ 156210 w 312419"/>
                <a:gd name="connsiteY3" fmla="*/ 0 h 312419"/>
                <a:gd name="connsiteX4" fmla="*/ 312420 w 312419"/>
                <a:gd name="connsiteY4" fmla="*/ 156210 h 31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19" h="312419">
                  <a:moveTo>
                    <a:pt x="312420" y="156210"/>
                  </a:moveTo>
                  <a:cubicBezTo>
                    <a:pt x="312420" y="242482"/>
                    <a:pt x="242482" y="312420"/>
                    <a:pt x="156210" y="312420"/>
                  </a:cubicBezTo>
                  <a:cubicBezTo>
                    <a:pt x="69938" y="312420"/>
                    <a:pt x="0" y="242482"/>
                    <a:pt x="0" y="156210"/>
                  </a:cubicBezTo>
                  <a:cubicBezTo>
                    <a:pt x="0" y="69937"/>
                    <a:pt x="69938" y="0"/>
                    <a:pt x="156210" y="0"/>
                  </a:cubicBezTo>
                  <a:cubicBezTo>
                    <a:pt x="242482" y="0"/>
                    <a:pt x="312420" y="69937"/>
                    <a:pt x="312420" y="156210"/>
                  </a:cubicBezTo>
                  <a:close/>
                </a:path>
              </a:pathLst>
            </a:custGeom>
            <a:solidFill>
              <a:srgbClr val="EE0C3D"/>
            </a:solidFill>
            <a:ln w="6350" cap="flat">
              <a:no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FC2767C5-FBCA-475F-9D05-19E0475AA59B}"/>
                </a:ext>
              </a:extLst>
            </p:cNvPr>
            <p:cNvSpPr/>
            <p:nvPr/>
          </p:nvSpPr>
          <p:spPr bwMode="ltGray">
            <a:xfrm>
              <a:off x="9245600" y="6504305"/>
              <a:ext cx="316230" cy="316229"/>
            </a:xfrm>
            <a:custGeom>
              <a:avLst/>
              <a:gdLst>
                <a:gd name="connsiteX0" fmla="*/ 158115 w 316230"/>
                <a:gd name="connsiteY0" fmla="*/ 0 h 316229"/>
                <a:gd name="connsiteX1" fmla="*/ 0 w 316230"/>
                <a:gd name="connsiteY1" fmla="*/ 158114 h 316229"/>
                <a:gd name="connsiteX2" fmla="*/ 158115 w 316230"/>
                <a:gd name="connsiteY2" fmla="*/ 316230 h 316229"/>
                <a:gd name="connsiteX3" fmla="*/ 316230 w 316230"/>
                <a:gd name="connsiteY3" fmla="*/ 158114 h 316229"/>
                <a:gd name="connsiteX4" fmla="*/ 158115 w 316230"/>
                <a:gd name="connsiteY4" fmla="*/ 0 h 31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0" h="316229">
                  <a:moveTo>
                    <a:pt x="158115" y="0"/>
                  </a:moveTo>
                  <a:cubicBezTo>
                    <a:pt x="70485" y="0"/>
                    <a:pt x="0" y="71120"/>
                    <a:pt x="0" y="158114"/>
                  </a:cubicBezTo>
                  <a:cubicBezTo>
                    <a:pt x="0" y="245110"/>
                    <a:pt x="71120" y="316230"/>
                    <a:pt x="158115" y="316230"/>
                  </a:cubicBezTo>
                  <a:cubicBezTo>
                    <a:pt x="245745" y="316230"/>
                    <a:pt x="316230" y="245110"/>
                    <a:pt x="316230" y="158114"/>
                  </a:cubicBezTo>
                  <a:cubicBezTo>
                    <a:pt x="316230" y="71120"/>
                    <a:pt x="245745" y="0"/>
                    <a:pt x="158115" y="0"/>
                  </a:cubicBezTo>
                  <a:close/>
                </a:path>
              </a:pathLst>
            </a:custGeom>
            <a:solidFill>
              <a:srgbClr val="EE0C3D"/>
            </a:solidFill>
            <a:ln w="6350"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00BBD0B3-46A6-4B58-9873-3E22DC138F02}"/>
                </a:ext>
              </a:extLst>
            </p:cNvPr>
            <p:cNvSpPr/>
            <p:nvPr/>
          </p:nvSpPr>
          <p:spPr bwMode="ltGray">
            <a:xfrm>
              <a:off x="8880475" y="6504940"/>
              <a:ext cx="314959" cy="314959"/>
            </a:xfrm>
            <a:custGeom>
              <a:avLst/>
              <a:gdLst>
                <a:gd name="connsiteX0" fmla="*/ 314960 w 314959"/>
                <a:gd name="connsiteY0" fmla="*/ 157480 h 314959"/>
                <a:gd name="connsiteX1" fmla="*/ 157480 w 314959"/>
                <a:gd name="connsiteY1" fmla="*/ 314960 h 314959"/>
                <a:gd name="connsiteX2" fmla="*/ -1 w 314959"/>
                <a:gd name="connsiteY2" fmla="*/ 157480 h 314959"/>
                <a:gd name="connsiteX3" fmla="*/ 157480 w 314959"/>
                <a:gd name="connsiteY3" fmla="*/ -1 h 314959"/>
                <a:gd name="connsiteX4" fmla="*/ 314960 w 314959"/>
                <a:gd name="connsiteY4" fmla="*/ 157480 h 31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59" h="314959">
                  <a:moveTo>
                    <a:pt x="314960" y="157480"/>
                  </a:moveTo>
                  <a:cubicBezTo>
                    <a:pt x="314960" y="244453"/>
                    <a:pt x="244453" y="314960"/>
                    <a:pt x="157480" y="314960"/>
                  </a:cubicBezTo>
                  <a:cubicBezTo>
                    <a:pt x="70506" y="314960"/>
                    <a:pt x="-1" y="244453"/>
                    <a:pt x="-1" y="157480"/>
                  </a:cubicBezTo>
                  <a:cubicBezTo>
                    <a:pt x="-1" y="70506"/>
                    <a:pt x="70506" y="-1"/>
                    <a:pt x="157480" y="-1"/>
                  </a:cubicBezTo>
                  <a:cubicBezTo>
                    <a:pt x="244453" y="-1"/>
                    <a:pt x="314960" y="70506"/>
                    <a:pt x="314960" y="157480"/>
                  </a:cubicBezTo>
                  <a:close/>
                </a:path>
              </a:pathLst>
            </a:custGeom>
            <a:solidFill>
              <a:srgbClr val="EE0C3D"/>
            </a:solidFill>
            <a:ln w="6350"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0A05E886-4BC7-442F-B820-AD70C8BCD665}"/>
                </a:ext>
              </a:extLst>
            </p:cNvPr>
            <p:cNvSpPr/>
            <p:nvPr/>
          </p:nvSpPr>
          <p:spPr bwMode="ltGray">
            <a:xfrm>
              <a:off x="8517255" y="6507480"/>
              <a:ext cx="309880" cy="309880"/>
            </a:xfrm>
            <a:custGeom>
              <a:avLst/>
              <a:gdLst>
                <a:gd name="connsiteX0" fmla="*/ 309880 w 309880"/>
                <a:gd name="connsiteY0" fmla="*/ 154940 h 309880"/>
                <a:gd name="connsiteX1" fmla="*/ 154940 w 309880"/>
                <a:gd name="connsiteY1" fmla="*/ 309880 h 309880"/>
                <a:gd name="connsiteX2" fmla="*/ 0 w 309880"/>
                <a:gd name="connsiteY2" fmla="*/ 154940 h 309880"/>
                <a:gd name="connsiteX3" fmla="*/ 154940 w 309880"/>
                <a:gd name="connsiteY3" fmla="*/ 0 h 309880"/>
                <a:gd name="connsiteX4" fmla="*/ 309880 w 309880"/>
                <a:gd name="connsiteY4" fmla="*/ 154940 h 309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80">
                  <a:moveTo>
                    <a:pt x="309880" y="154940"/>
                  </a:moveTo>
                  <a:cubicBezTo>
                    <a:pt x="309880" y="240510"/>
                    <a:pt x="240511" y="309880"/>
                    <a:pt x="154940" y="309880"/>
                  </a:cubicBezTo>
                  <a:cubicBezTo>
                    <a:pt x="69369" y="309880"/>
                    <a:pt x="0" y="240511"/>
                    <a:pt x="0" y="154940"/>
                  </a:cubicBezTo>
                  <a:cubicBezTo>
                    <a:pt x="0" y="69369"/>
                    <a:pt x="69368" y="0"/>
                    <a:pt x="154940" y="0"/>
                  </a:cubicBezTo>
                  <a:cubicBezTo>
                    <a:pt x="240510" y="0"/>
                    <a:pt x="309880" y="69368"/>
                    <a:pt x="309880" y="154940"/>
                  </a:cubicBezTo>
                  <a:close/>
                </a:path>
              </a:pathLst>
            </a:custGeom>
            <a:solidFill>
              <a:srgbClr val="EE0C3D"/>
            </a:solidFill>
            <a:ln w="6350" cap="flat">
              <a:no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F4624253-663C-43DA-9694-99BF8094360E}"/>
                </a:ext>
              </a:extLst>
            </p:cNvPr>
            <p:cNvSpPr/>
            <p:nvPr/>
          </p:nvSpPr>
          <p:spPr bwMode="ltGray">
            <a:xfrm>
              <a:off x="8159750" y="6515735"/>
              <a:ext cx="293369" cy="293369"/>
            </a:xfrm>
            <a:custGeom>
              <a:avLst/>
              <a:gdLst>
                <a:gd name="connsiteX0" fmla="*/ 293370 w 293369"/>
                <a:gd name="connsiteY0" fmla="*/ 146685 h 293369"/>
                <a:gd name="connsiteX1" fmla="*/ 146685 w 293369"/>
                <a:gd name="connsiteY1" fmla="*/ 293370 h 293369"/>
                <a:gd name="connsiteX2" fmla="*/ 0 w 293369"/>
                <a:gd name="connsiteY2" fmla="*/ 146685 h 293369"/>
                <a:gd name="connsiteX3" fmla="*/ 146685 w 293369"/>
                <a:gd name="connsiteY3" fmla="*/ 0 h 293369"/>
                <a:gd name="connsiteX4" fmla="*/ 293370 w 293369"/>
                <a:gd name="connsiteY4" fmla="*/ 146685 h 293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69" h="293369">
                  <a:moveTo>
                    <a:pt x="293370" y="146685"/>
                  </a:moveTo>
                  <a:cubicBezTo>
                    <a:pt x="293370" y="227697"/>
                    <a:pt x="227697" y="293370"/>
                    <a:pt x="146685" y="293370"/>
                  </a:cubicBezTo>
                  <a:cubicBezTo>
                    <a:pt x="65673" y="293370"/>
                    <a:pt x="0" y="227697"/>
                    <a:pt x="0" y="146685"/>
                  </a:cubicBezTo>
                  <a:cubicBezTo>
                    <a:pt x="0" y="65673"/>
                    <a:pt x="65673" y="0"/>
                    <a:pt x="146685" y="0"/>
                  </a:cubicBezTo>
                  <a:cubicBezTo>
                    <a:pt x="227697" y="0"/>
                    <a:pt x="293370" y="65673"/>
                    <a:pt x="293370" y="146685"/>
                  </a:cubicBezTo>
                  <a:close/>
                </a:path>
              </a:pathLst>
            </a:custGeom>
            <a:solidFill>
              <a:srgbClr val="EE0C3D"/>
            </a:solidFill>
            <a:ln w="6350" cap="flat">
              <a:no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CF339E07-E20C-4E83-8D1A-278F40165F2B}"/>
                </a:ext>
              </a:extLst>
            </p:cNvPr>
            <p:cNvSpPr/>
            <p:nvPr/>
          </p:nvSpPr>
          <p:spPr bwMode="ltGray">
            <a:xfrm>
              <a:off x="7809230" y="6532244"/>
              <a:ext cx="261619" cy="261620"/>
            </a:xfrm>
            <a:custGeom>
              <a:avLst/>
              <a:gdLst>
                <a:gd name="connsiteX0" fmla="*/ 130810 w 261619"/>
                <a:gd name="connsiteY0" fmla="*/ 0 h 261620"/>
                <a:gd name="connsiteX1" fmla="*/ 0 w 261619"/>
                <a:gd name="connsiteY1" fmla="*/ 130811 h 261620"/>
                <a:gd name="connsiteX2" fmla="*/ 130810 w 261619"/>
                <a:gd name="connsiteY2" fmla="*/ 261620 h 261620"/>
                <a:gd name="connsiteX3" fmla="*/ 261620 w 261619"/>
                <a:gd name="connsiteY3" fmla="*/ 130811 h 261620"/>
                <a:gd name="connsiteX4" fmla="*/ 130810 w 261619"/>
                <a:gd name="connsiteY4" fmla="*/ 0 h 26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619" h="261620">
                  <a:moveTo>
                    <a:pt x="130810" y="0"/>
                  </a:moveTo>
                  <a:cubicBezTo>
                    <a:pt x="58420" y="0"/>
                    <a:pt x="0" y="58420"/>
                    <a:pt x="0" y="130811"/>
                  </a:cubicBezTo>
                  <a:cubicBezTo>
                    <a:pt x="0" y="203200"/>
                    <a:pt x="58420" y="261620"/>
                    <a:pt x="130810" y="261620"/>
                  </a:cubicBezTo>
                  <a:cubicBezTo>
                    <a:pt x="203200" y="261620"/>
                    <a:pt x="261620" y="203200"/>
                    <a:pt x="261620" y="130811"/>
                  </a:cubicBezTo>
                  <a:cubicBezTo>
                    <a:pt x="261620" y="58420"/>
                    <a:pt x="203200" y="0"/>
                    <a:pt x="130810" y="0"/>
                  </a:cubicBezTo>
                  <a:close/>
                </a:path>
              </a:pathLst>
            </a:custGeom>
            <a:solidFill>
              <a:srgbClr val="EE0C3D"/>
            </a:solidFill>
            <a:ln w="6350" cap="flat">
              <a:noFill/>
              <a:prstDash val="solid"/>
              <a:miter/>
            </a:ln>
          </p:spPr>
          <p:txBody>
            <a:bodyPr rtlCol="0" anchor="ctr"/>
            <a:lstStyle/>
            <a:p>
              <a:endParaRPr lang="en-GB"/>
            </a:p>
          </p:txBody>
        </p:sp>
        <p:sp>
          <p:nvSpPr>
            <p:cNvPr id="108" name="Freeform: Shape 107">
              <a:extLst>
                <a:ext uri="{FF2B5EF4-FFF2-40B4-BE49-F238E27FC236}">
                  <a16:creationId xmlns:a16="http://schemas.microsoft.com/office/drawing/2014/main" id="{074354EA-F9E1-49E3-845B-C4B995C45365}"/>
                </a:ext>
              </a:extLst>
            </p:cNvPr>
            <p:cNvSpPr/>
            <p:nvPr/>
          </p:nvSpPr>
          <p:spPr bwMode="ltGray">
            <a:xfrm>
              <a:off x="7470139" y="6558280"/>
              <a:ext cx="208280" cy="208280"/>
            </a:xfrm>
            <a:custGeom>
              <a:avLst/>
              <a:gdLst>
                <a:gd name="connsiteX0" fmla="*/ 208280 w 208280"/>
                <a:gd name="connsiteY0" fmla="*/ 104140 h 208280"/>
                <a:gd name="connsiteX1" fmla="*/ 104140 w 208280"/>
                <a:gd name="connsiteY1" fmla="*/ 208280 h 208280"/>
                <a:gd name="connsiteX2" fmla="*/ -1 w 208280"/>
                <a:gd name="connsiteY2" fmla="*/ 104140 h 208280"/>
                <a:gd name="connsiteX3" fmla="*/ 104140 w 208280"/>
                <a:gd name="connsiteY3" fmla="*/ 0 h 208280"/>
                <a:gd name="connsiteX4" fmla="*/ 208280 w 208280"/>
                <a:gd name="connsiteY4" fmla="*/ 104140 h 208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 h="208280">
                  <a:moveTo>
                    <a:pt x="208280" y="104140"/>
                  </a:moveTo>
                  <a:cubicBezTo>
                    <a:pt x="208280" y="161655"/>
                    <a:pt x="161655" y="208280"/>
                    <a:pt x="104140" y="208280"/>
                  </a:cubicBezTo>
                  <a:cubicBezTo>
                    <a:pt x="46624" y="208280"/>
                    <a:pt x="-1" y="161655"/>
                    <a:pt x="-1" y="104140"/>
                  </a:cubicBezTo>
                  <a:cubicBezTo>
                    <a:pt x="-1" y="46625"/>
                    <a:pt x="46624" y="0"/>
                    <a:pt x="104140" y="0"/>
                  </a:cubicBezTo>
                  <a:cubicBezTo>
                    <a:pt x="161655" y="0"/>
                    <a:pt x="208280" y="46625"/>
                    <a:pt x="208280" y="104140"/>
                  </a:cubicBezTo>
                  <a:close/>
                </a:path>
              </a:pathLst>
            </a:custGeom>
            <a:solidFill>
              <a:srgbClr val="EE0C3D"/>
            </a:solidFill>
            <a:ln w="6350" cap="flat">
              <a:noFill/>
              <a:prstDash val="solid"/>
              <a:miter/>
            </a:ln>
          </p:spPr>
          <p:txBody>
            <a:bodyPr rtlCol="0" anchor="ctr"/>
            <a:lstStyle/>
            <a:p>
              <a:endParaRPr lang="en-GB"/>
            </a:p>
          </p:txBody>
        </p:sp>
        <p:sp>
          <p:nvSpPr>
            <p:cNvPr id="109" name="Freeform: Shape 108">
              <a:extLst>
                <a:ext uri="{FF2B5EF4-FFF2-40B4-BE49-F238E27FC236}">
                  <a16:creationId xmlns:a16="http://schemas.microsoft.com/office/drawing/2014/main" id="{9A7E819F-F87F-4F69-8CB4-14126454BBF4}"/>
                </a:ext>
              </a:extLst>
            </p:cNvPr>
            <p:cNvSpPr/>
            <p:nvPr/>
          </p:nvSpPr>
          <p:spPr bwMode="ltGray">
            <a:xfrm>
              <a:off x="7135494" y="6590030"/>
              <a:ext cx="146050" cy="146050"/>
            </a:xfrm>
            <a:custGeom>
              <a:avLst/>
              <a:gdLst>
                <a:gd name="connsiteX0" fmla="*/ 73025 w 146050"/>
                <a:gd name="connsiteY0" fmla="*/ 0 h 146050"/>
                <a:gd name="connsiteX1" fmla="*/ 0 w 146050"/>
                <a:gd name="connsiteY1" fmla="*/ 73025 h 146050"/>
                <a:gd name="connsiteX2" fmla="*/ 73025 w 146050"/>
                <a:gd name="connsiteY2" fmla="*/ 146050 h 146050"/>
                <a:gd name="connsiteX3" fmla="*/ 146050 w 146050"/>
                <a:gd name="connsiteY3" fmla="*/ 73025 h 146050"/>
                <a:gd name="connsiteX4" fmla="*/ 73025 w 146050"/>
                <a:gd name="connsiteY4" fmla="*/ 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 h="146050">
                  <a:moveTo>
                    <a:pt x="73025" y="0"/>
                  </a:moveTo>
                  <a:cubicBezTo>
                    <a:pt x="33020" y="0"/>
                    <a:pt x="0" y="32385"/>
                    <a:pt x="0" y="73025"/>
                  </a:cubicBezTo>
                  <a:cubicBezTo>
                    <a:pt x="0" y="113664"/>
                    <a:pt x="32386" y="146050"/>
                    <a:pt x="73025" y="146050"/>
                  </a:cubicBezTo>
                  <a:cubicBezTo>
                    <a:pt x="113030" y="146050"/>
                    <a:pt x="146050" y="113664"/>
                    <a:pt x="146050" y="73025"/>
                  </a:cubicBezTo>
                  <a:cubicBezTo>
                    <a:pt x="146050" y="32385"/>
                    <a:pt x="113030" y="0"/>
                    <a:pt x="73025" y="0"/>
                  </a:cubicBezTo>
                  <a:close/>
                </a:path>
              </a:pathLst>
            </a:custGeom>
            <a:solidFill>
              <a:srgbClr val="EE0C3D"/>
            </a:solidFill>
            <a:ln w="6350" cap="flat">
              <a:noFill/>
              <a:prstDash val="solid"/>
              <a:miter/>
            </a:ln>
          </p:spPr>
          <p:txBody>
            <a:bodyPr rtlCol="0" anchor="ctr"/>
            <a:lstStyle/>
            <a:p>
              <a:endParaRPr lang="en-GB"/>
            </a:p>
          </p:txBody>
        </p:sp>
        <p:sp>
          <p:nvSpPr>
            <p:cNvPr id="110" name="Freeform: Shape 109">
              <a:extLst>
                <a:ext uri="{FF2B5EF4-FFF2-40B4-BE49-F238E27FC236}">
                  <a16:creationId xmlns:a16="http://schemas.microsoft.com/office/drawing/2014/main" id="{45A6BC77-36F1-4B53-9252-2A4ABC722A8C}"/>
                </a:ext>
              </a:extLst>
            </p:cNvPr>
            <p:cNvSpPr/>
            <p:nvPr/>
          </p:nvSpPr>
          <p:spPr bwMode="ltGray">
            <a:xfrm>
              <a:off x="6801484" y="6621144"/>
              <a:ext cx="82550" cy="82550"/>
            </a:xfrm>
            <a:custGeom>
              <a:avLst/>
              <a:gdLst>
                <a:gd name="connsiteX0" fmla="*/ 41275 w 82550"/>
                <a:gd name="connsiteY0" fmla="*/ 0 h 82550"/>
                <a:gd name="connsiteX1" fmla="*/ 0 w 82550"/>
                <a:gd name="connsiteY1" fmla="*/ 41275 h 82550"/>
                <a:gd name="connsiteX2" fmla="*/ 41275 w 82550"/>
                <a:gd name="connsiteY2" fmla="*/ 82550 h 82550"/>
                <a:gd name="connsiteX3" fmla="*/ 82550 w 82550"/>
                <a:gd name="connsiteY3" fmla="*/ 41275 h 82550"/>
                <a:gd name="connsiteX4" fmla="*/ 41275 w 82550"/>
                <a:gd name="connsiteY4" fmla="*/ 0 h 82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50" h="82550">
                  <a:moveTo>
                    <a:pt x="41275" y="0"/>
                  </a:moveTo>
                  <a:cubicBezTo>
                    <a:pt x="18415" y="0"/>
                    <a:pt x="0" y="18415"/>
                    <a:pt x="0" y="41275"/>
                  </a:cubicBezTo>
                  <a:cubicBezTo>
                    <a:pt x="0" y="64136"/>
                    <a:pt x="18415" y="82550"/>
                    <a:pt x="41275" y="82550"/>
                  </a:cubicBezTo>
                  <a:cubicBezTo>
                    <a:pt x="64135" y="82550"/>
                    <a:pt x="82550" y="64136"/>
                    <a:pt x="82550" y="41275"/>
                  </a:cubicBezTo>
                  <a:cubicBezTo>
                    <a:pt x="82550" y="18415"/>
                    <a:pt x="64135" y="0"/>
                    <a:pt x="41275" y="0"/>
                  </a:cubicBezTo>
                  <a:close/>
                </a:path>
              </a:pathLst>
            </a:custGeom>
            <a:solidFill>
              <a:srgbClr val="EE0C3D"/>
            </a:solidFill>
            <a:ln w="6350"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CAF7810B-178F-475F-A113-908E783B35D4}"/>
                </a:ext>
              </a:extLst>
            </p:cNvPr>
            <p:cNvSpPr/>
            <p:nvPr/>
          </p:nvSpPr>
          <p:spPr bwMode="ltGray">
            <a:xfrm>
              <a:off x="6456045" y="6642734"/>
              <a:ext cx="40639" cy="40640"/>
            </a:xfrm>
            <a:custGeom>
              <a:avLst/>
              <a:gdLst>
                <a:gd name="connsiteX0" fmla="*/ 20320 w 40639"/>
                <a:gd name="connsiteY0" fmla="*/ 0 h 40640"/>
                <a:gd name="connsiteX1" fmla="*/ 0 w 40639"/>
                <a:gd name="connsiteY1" fmla="*/ 20320 h 40640"/>
                <a:gd name="connsiteX2" fmla="*/ 20320 w 40639"/>
                <a:gd name="connsiteY2" fmla="*/ 40640 h 40640"/>
                <a:gd name="connsiteX3" fmla="*/ 40640 w 40639"/>
                <a:gd name="connsiteY3" fmla="*/ 20320 h 40640"/>
                <a:gd name="connsiteX4" fmla="*/ 20320 w 40639"/>
                <a:gd name="connsiteY4" fmla="*/ 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20320" y="0"/>
                  </a:moveTo>
                  <a:cubicBezTo>
                    <a:pt x="9525" y="0"/>
                    <a:pt x="0" y="8890"/>
                    <a:pt x="0" y="20320"/>
                  </a:cubicBezTo>
                  <a:cubicBezTo>
                    <a:pt x="0" y="31750"/>
                    <a:pt x="8890" y="40640"/>
                    <a:pt x="20320" y="40640"/>
                  </a:cubicBezTo>
                  <a:cubicBezTo>
                    <a:pt x="31115" y="40640"/>
                    <a:pt x="40640" y="31750"/>
                    <a:pt x="40640" y="20320"/>
                  </a:cubicBezTo>
                  <a:cubicBezTo>
                    <a:pt x="40640" y="8890"/>
                    <a:pt x="31750" y="0"/>
                    <a:pt x="20320" y="0"/>
                  </a:cubicBezTo>
                  <a:close/>
                </a:path>
              </a:pathLst>
            </a:custGeom>
            <a:solidFill>
              <a:srgbClr val="EE0C3D"/>
            </a:solidFill>
            <a:ln w="6350"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B9E7736F-8925-4517-9820-3AF0198A95D3}"/>
                </a:ext>
              </a:extLst>
            </p:cNvPr>
            <p:cNvSpPr/>
            <p:nvPr/>
          </p:nvSpPr>
          <p:spPr bwMode="ltGray">
            <a:xfrm>
              <a:off x="11939269" y="6270625"/>
              <a:ext cx="52070" cy="52070"/>
            </a:xfrm>
            <a:custGeom>
              <a:avLst/>
              <a:gdLst>
                <a:gd name="connsiteX0" fmla="*/ 26036 w 52070"/>
                <a:gd name="connsiteY0" fmla="*/ 52070 h 52070"/>
                <a:gd name="connsiteX1" fmla="*/ 52070 w 52070"/>
                <a:gd name="connsiteY1" fmla="*/ 26035 h 52070"/>
                <a:gd name="connsiteX2" fmla="*/ 26036 w 52070"/>
                <a:gd name="connsiteY2" fmla="*/ 0 h 52070"/>
                <a:gd name="connsiteX3" fmla="*/ 0 w 52070"/>
                <a:gd name="connsiteY3" fmla="*/ 26035 h 52070"/>
                <a:gd name="connsiteX4" fmla="*/ 26036 w 52070"/>
                <a:gd name="connsiteY4" fmla="*/ 52070 h 5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70" h="52070">
                  <a:moveTo>
                    <a:pt x="26036" y="52070"/>
                  </a:moveTo>
                  <a:cubicBezTo>
                    <a:pt x="40005" y="52070"/>
                    <a:pt x="52070" y="40640"/>
                    <a:pt x="52070" y="26035"/>
                  </a:cubicBezTo>
                  <a:cubicBezTo>
                    <a:pt x="52070" y="11430"/>
                    <a:pt x="40640" y="0"/>
                    <a:pt x="26036" y="0"/>
                  </a:cubicBezTo>
                  <a:cubicBezTo>
                    <a:pt x="12065" y="0"/>
                    <a:pt x="0" y="11430"/>
                    <a:pt x="0" y="26035"/>
                  </a:cubicBezTo>
                  <a:cubicBezTo>
                    <a:pt x="0" y="40640"/>
                    <a:pt x="12065" y="52070"/>
                    <a:pt x="26036" y="52070"/>
                  </a:cubicBezTo>
                  <a:close/>
                </a:path>
              </a:pathLst>
            </a:custGeom>
            <a:solidFill>
              <a:srgbClr val="EE0C3D"/>
            </a:solidFill>
            <a:ln w="6350"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02952349-5F76-4395-B123-84C1FBDBBCE8}"/>
                </a:ext>
              </a:extLst>
            </p:cNvPr>
            <p:cNvSpPr/>
            <p:nvPr/>
          </p:nvSpPr>
          <p:spPr bwMode="ltGray">
            <a:xfrm>
              <a:off x="11549380" y="6246495"/>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59" y="100330"/>
                    <a:pt x="0" y="77871"/>
                    <a:pt x="0" y="50165"/>
                  </a:cubicBezTo>
                  <a:cubicBezTo>
                    <a:pt x="0" y="22460"/>
                    <a:pt x="22459"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81B0DC43-7422-4D63-8061-C5BD3896AA49}"/>
                </a:ext>
              </a:extLst>
            </p:cNvPr>
            <p:cNvSpPr/>
            <p:nvPr/>
          </p:nvSpPr>
          <p:spPr bwMode="ltGray">
            <a:xfrm>
              <a:off x="11152505" y="6216015"/>
              <a:ext cx="161289" cy="161289"/>
            </a:xfrm>
            <a:custGeom>
              <a:avLst/>
              <a:gdLst>
                <a:gd name="connsiteX0" fmla="*/ 80645 w 161289"/>
                <a:gd name="connsiteY0" fmla="*/ 161290 h 161289"/>
                <a:gd name="connsiteX1" fmla="*/ 161289 w 161289"/>
                <a:gd name="connsiteY1" fmla="*/ 80645 h 161289"/>
                <a:gd name="connsiteX2" fmla="*/ 80645 w 161289"/>
                <a:gd name="connsiteY2" fmla="*/ 0 h 161289"/>
                <a:gd name="connsiteX3" fmla="*/ 0 w 161289"/>
                <a:gd name="connsiteY3" fmla="*/ 80645 h 161289"/>
                <a:gd name="connsiteX4" fmla="*/ 80645 w 161289"/>
                <a:gd name="connsiteY4" fmla="*/ 161290 h 161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289" h="161289">
                  <a:moveTo>
                    <a:pt x="80645" y="161290"/>
                  </a:moveTo>
                  <a:cubicBezTo>
                    <a:pt x="125095" y="161290"/>
                    <a:pt x="161289" y="125095"/>
                    <a:pt x="161289" y="80645"/>
                  </a:cubicBezTo>
                  <a:cubicBezTo>
                    <a:pt x="161289" y="36195"/>
                    <a:pt x="125095" y="0"/>
                    <a:pt x="80645" y="0"/>
                  </a:cubicBezTo>
                  <a:cubicBezTo>
                    <a:pt x="36195" y="0"/>
                    <a:pt x="0" y="36195"/>
                    <a:pt x="0" y="80645"/>
                  </a:cubicBezTo>
                  <a:cubicBezTo>
                    <a:pt x="0" y="125095"/>
                    <a:pt x="36830" y="161290"/>
                    <a:pt x="80645" y="161290"/>
                  </a:cubicBezTo>
                  <a:close/>
                </a:path>
              </a:pathLst>
            </a:custGeom>
            <a:solidFill>
              <a:srgbClr val="EE0C3D"/>
            </a:solidFill>
            <a:ln w="6350" cap="flat">
              <a:noFill/>
              <a:prstDash val="solid"/>
              <a:miter/>
            </a:ln>
          </p:spPr>
          <p:txBody>
            <a:bodyPr rtlCol="0" anchor="ctr"/>
            <a:lstStyle/>
            <a:p>
              <a:endParaRPr lang="en-GB"/>
            </a:p>
          </p:txBody>
        </p:sp>
        <p:sp>
          <p:nvSpPr>
            <p:cNvPr id="115" name="Freeform: Shape 114">
              <a:extLst>
                <a:ext uri="{FF2B5EF4-FFF2-40B4-BE49-F238E27FC236}">
                  <a16:creationId xmlns:a16="http://schemas.microsoft.com/office/drawing/2014/main" id="{33051175-FE45-47A1-BB61-4B15FEBE08F5}"/>
                </a:ext>
              </a:extLst>
            </p:cNvPr>
            <p:cNvSpPr/>
            <p:nvPr/>
          </p:nvSpPr>
          <p:spPr bwMode="ltGray">
            <a:xfrm>
              <a:off x="10756900" y="6186170"/>
              <a:ext cx="220980" cy="220979"/>
            </a:xfrm>
            <a:custGeom>
              <a:avLst/>
              <a:gdLst>
                <a:gd name="connsiteX0" fmla="*/ 110490 w 220980"/>
                <a:gd name="connsiteY0" fmla="*/ 220980 h 220979"/>
                <a:gd name="connsiteX1" fmla="*/ 220980 w 220980"/>
                <a:gd name="connsiteY1" fmla="*/ 110490 h 220979"/>
                <a:gd name="connsiteX2" fmla="*/ 110490 w 220980"/>
                <a:gd name="connsiteY2" fmla="*/ 0 h 220979"/>
                <a:gd name="connsiteX3" fmla="*/ 0 w 220980"/>
                <a:gd name="connsiteY3" fmla="*/ 110490 h 220979"/>
                <a:gd name="connsiteX4" fmla="*/ 110490 w 220980"/>
                <a:gd name="connsiteY4" fmla="*/ 220980 h 22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80" h="220979">
                  <a:moveTo>
                    <a:pt x="110490" y="220980"/>
                  </a:moveTo>
                  <a:cubicBezTo>
                    <a:pt x="171450" y="220980"/>
                    <a:pt x="220980" y="171450"/>
                    <a:pt x="220980" y="110490"/>
                  </a:cubicBezTo>
                  <a:cubicBezTo>
                    <a:pt x="220980" y="49530"/>
                    <a:pt x="171450" y="0"/>
                    <a:pt x="110490" y="0"/>
                  </a:cubicBezTo>
                  <a:cubicBezTo>
                    <a:pt x="49530" y="0"/>
                    <a:pt x="0" y="49530"/>
                    <a:pt x="0" y="110490"/>
                  </a:cubicBezTo>
                  <a:cubicBezTo>
                    <a:pt x="0" y="171450"/>
                    <a:pt x="49530" y="220980"/>
                    <a:pt x="110490" y="220980"/>
                  </a:cubicBezTo>
                  <a:close/>
                </a:path>
              </a:pathLst>
            </a:custGeom>
            <a:solidFill>
              <a:srgbClr val="EE0C3D"/>
            </a:solidFill>
            <a:ln w="6350" cap="flat">
              <a:noFill/>
              <a:prstDash val="solid"/>
              <a:miter/>
            </a:ln>
          </p:spPr>
          <p:txBody>
            <a:bodyPr rtlCol="0" anchor="ctr"/>
            <a:lstStyle/>
            <a:p>
              <a:endParaRPr lang="en-GB"/>
            </a:p>
          </p:txBody>
        </p:sp>
        <p:sp>
          <p:nvSpPr>
            <p:cNvPr id="116" name="Freeform: Shape 115">
              <a:extLst>
                <a:ext uri="{FF2B5EF4-FFF2-40B4-BE49-F238E27FC236}">
                  <a16:creationId xmlns:a16="http://schemas.microsoft.com/office/drawing/2014/main" id="{6E178317-1554-4E64-A820-7977F55A49A9}"/>
                </a:ext>
              </a:extLst>
            </p:cNvPr>
            <p:cNvSpPr/>
            <p:nvPr/>
          </p:nvSpPr>
          <p:spPr bwMode="ltGray">
            <a:xfrm>
              <a:off x="10368915" y="6163945"/>
              <a:ext cx="265429" cy="265429"/>
            </a:xfrm>
            <a:custGeom>
              <a:avLst/>
              <a:gdLst>
                <a:gd name="connsiteX0" fmla="*/ 132715 w 265429"/>
                <a:gd name="connsiteY0" fmla="*/ 265430 h 265429"/>
                <a:gd name="connsiteX1" fmla="*/ 265430 w 265429"/>
                <a:gd name="connsiteY1" fmla="*/ 132715 h 265429"/>
                <a:gd name="connsiteX2" fmla="*/ 132715 w 265429"/>
                <a:gd name="connsiteY2" fmla="*/ 0 h 265429"/>
                <a:gd name="connsiteX3" fmla="*/ 0 w 265429"/>
                <a:gd name="connsiteY3" fmla="*/ 132715 h 265429"/>
                <a:gd name="connsiteX4" fmla="*/ 132715 w 265429"/>
                <a:gd name="connsiteY4" fmla="*/ 265430 h 265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29" h="265429">
                  <a:moveTo>
                    <a:pt x="132715" y="265430"/>
                  </a:moveTo>
                  <a:cubicBezTo>
                    <a:pt x="205740" y="265430"/>
                    <a:pt x="265430" y="206375"/>
                    <a:pt x="265430" y="132715"/>
                  </a:cubicBezTo>
                  <a:cubicBezTo>
                    <a:pt x="265430" y="59055"/>
                    <a:pt x="206375" y="0"/>
                    <a:pt x="132715" y="0"/>
                  </a:cubicBezTo>
                  <a:cubicBezTo>
                    <a:pt x="59690" y="0"/>
                    <a:pt x="0" y="59055"/>
                    <a:pt x="0" y="132715"/>
                  </a:cubicBezTo>
                  <a:cubicBezTo>
                    <a:pt x="0" y="206375"/>
                    <a:pt x="59690" y="265430"/>
                    <a:pt x="132715" y="265430"/>
                  </a:cubicBezTo>
                  <a:close/>
                </a:path>
              </a:pathLst>
            </a:custGeom>
            <a:solidFill>
              <a:srgbClr val="EE0C3D"/>
            </a:solidFill>
            <a:ln w="6350" cap="flat">
              <a:noFill/>
              <a:prstDash val="solid"/>
              <a:miter/>
            </a:ln>
          </p:spPr>
          <p:txBody>
            <a:bodyPr rtlCol="0" anchor="ctr"/>
            <a:lstStyle/>
            <a:p>
              <a:endParaRPr lang="en-GB"/>
            </a:p>
          </p:txBody>
        </p:sp>
        <p:sp>
          <p:nvSpPr>
            <p:cNvPr id="117" name="Freeform: Shape 116">
              <a:extLst>
                <a:ext uri="{FF2B5EF4-FFF2-40B4-BE49-F238E27FC236}">
                  <a16:creationId xmlns:a16="http://schemas.microsoft.com/office/drawing/2014/main" id="{84D09875-A211-40F6-A21D-6096EB9B26E1}"/>
                </a:ext>
              </a:extLst>
            </p:cNvPr>
            <p:cNvSpPr/>
            <p:nvPr/>
          </p:nvSpPr>
          <p:spPr bwMode="ltGray">
            <a:xfrm>
              <a:off x="9990455" y="6151245"/>
              <a:ext cx="290830" cy="290829"/>
            </a:xfrm>
            <a:custGeom>
              <a:avLst/>
              <a:gdLst>
                <a:gd name="connsiteX0" fmla="*/ 290830 w 290830"/>
                <a:gd name="connsiteY0" fmla="*/ 145415 h 290829"/>
                <a:gd name="connsiteX1" fmla="*/ 145415 w 290830"/>
                <a:gd name="connsiteY1" fmla="*/ 290830 h 290829"/>
                <a:gd name="connsiteX2" fmla="*/ 0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5"/>
                    <a:pt x="225725" y="290830"/>
                    <a:pt x="145415" y="290830"/>
                  </a:cubicBezTo>
                  <a:cubicBezTo>
                    <a:pt x="65104" y="290830"/>
                    <a:pt x="0" y="225725"/>
                    <a:pt x="0" y="145415"/>
                  </a:cubicBezTo>
                  <a:cubicBezTo>
                    <a:pt x="0"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1517B7D6-BCBE-4B99-AC47-E78AC6F21172}"/>
                </a:ext>
              </a:extLst>
            </p:cNvPr>
            <p:cNvSpPr/>
            <p:nvPr/>
          </p:nvSpPr>
          <p:spPr bwMode="ltGray">
            <a:xfrm>
              <a:off x="9617710" y="6144260"/>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1" y="304800"/>
                    <a:pt x="0" y="236568"/>
                    <a:pt x="0" y="152400"/>
                  </a:cubicBezTo>
                  <a:cubicBezTo>
                    <a:pt x="0" y="68232"/>
                    <a:pt x="68231" y="0"/>
                    <a:pt x="152400" y="0"/>
                  </a:cubicBezTo>
                  <a:cubicBezTo>
                    <a:pt x="236568" y="0"/>
                    <a:pt x="304800" y="68232"/>
                    <a:pt x="304800" y="152400"/>
                  </a:cubicBezTo>
                  <a:close/>
                </a:path>
              </a:pathLst>
            </a:custGeom>
            <a:solidFill>
              <a:srgbClr val="EE0C3D"/>
            </a:solidFill>
            <a:ln w="6350"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509001EF-CC89-4430-A1A7-3BFFED42D050}"/>
                </a:ext>
              </a:extLst>
            </p:cNvPr>
            <p:cNvSpPr/>
            <p:nvPr/>
          </p:nvSpPr>
          <p:spPr bwMode="ltGray">
            <a:xfrm>
              <a:off x="9248775" y="6141720"/>
              <a:ext cx="309880" cy="309879"/>
            </a:xfrm>
            <a:custGeom>
              <a:avLst/>
              <a:gdLst>
                <a:gd name="connsiteX0" fmla="*/ 309880 w 309880"/>
                <a:gd name="connsiteY0" fmla="*/ 154940 h 309879"/>
                <a:gd name="connsiteX1" fmla="*/ 154940 w 309880"/>
                <a:gd name="connsiteY1" fmla="*/ 309880 h 309879"/>
                <a:gd name="connsiteX2" fmla="*/ 0 w 309880"/>
                <a:gd name="connsiteY2" fmla="*/ 154940 h 309879"/>
                <a:gd name="connsiteX3" fmla="*/ 154940 w 309880"/>
                <a:gd name="connsiteY3" fmla="*/ 0 h 309879"/>
                <a:gd name="connsiteX4" fmla="*/ 309880 w 309880"/>
                <a:gd name="connsiteY4" fmla="*/ 154940 h 30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80" h="309879">
                  <a:moveTo>
                    <a:pt x="309880" y="154940"/>
                  </a:moveTo>
                  <a:cubicBezTo>
                    <a:pt x="309880" y="240511"/>
                    <a:pt x="240512" y="309880"/>
                    <a:pt x="154940" y="309880"/>
                  </a:cubicBezTo>
                  <a:cubicBezTo>
                    <a:pt x="69369" y="309880"/>
                    <a:pt x="0" y="240511"/>
                    <a:pt x="0" y="154940"/>
                  </a:cubicBezTo>
                  <a:cubicBezTo>
                    <a:pt x="0" y="69369"/>
                    <a:pt x="69369" y="0"/>
                    <a:pt x="154940" y="0"/>
                  </a:cubicBezTo>
                  <a:cubicBezTo>
                    <a:pt x="240511" y="0"/>
                    <a:pt x="309880" y="69369"/>
                    <a:pt x="309880" y="154940"/>
                  </a:cubicBezTo>
                  <a:close/>
                </a:path>
              </a:pathLst>
            </a:custGeom>
            <a:solidFill>
              <a:srgbClr val="EE0C3D"/>
            </a:solidFill>
            <a:ln w="6350" cap="flat">
              <a:noFill/>
              <a:prstDash val="solid"/>
              <a:miter/>
            </a:ln>
          </p:spPr>
          <p:txBody>
            <a:bodyPr rtlCol="0" anchor="ctr"/>
            <a:lstStyle/>
            <a:p>
              <a:endParaRPr lang="en-GB"/>
            </a:p>
          </p:txBody>
        </p:sp>
        <p:sp>
          <p:nvSpPr>
            <p:cNvPr id="120" name="Freeform: Shape 119">
              <a:extLst>
                <a:ext uri="{FF2B5EF4-FFF2-40B4-BE49-F238E27FC236}">
                  <a16:creationId xmlns:a16="http://schemas.microsoft.com/office/drawing/2014/main" id="{BDB3649C-5B77-4406-8AB1-99AC191D4993}"/>
                </a:ext>
              </a:extLst>
            </p:cNvPr>
            <p:cNvSpPr/>
            <p:nvPr/>
          </p:nvSpPr>
          <p:spPr bwMode="ltGray">
            <a:xfrm>
              <a:off x="8884285" y="6142990"/>
              <a:ext cx="307340" cy="307340"/>
            </a:xfrm>
            <a:custGeom>
              <a:avLst/>
              <a:gdLst>
                <a:gd name="connsiteX0" fmla="*/ 307340 w 307340"/>
                <a:gd name="connsiteY0" fmla="*/ 153670 h 307340"/>
                <a:gd name="connsiteX1" fmla="*/ 153670 w 307340"/>
                <a:gd name="connsiteY1" fmla="*/ 307340 h 307340"/>
                <a:gd name="connsiteX2" fmla="*/ 1 w 307340"/>
                <a:gd name="connsiteY2" fmla="*/ 153670 h 307340"/>
                <a:gd name="connsiteX3" fmla="*/ 153670 w 307340"/>
                <a:gd name="connsiteY3" fmla="*/ 0 h 307340"/>
                <a:gd name="connsiteX4" fmla="*/ 307340 w 307340"/>
                <a:gd name="connsiteY4" fmla="*/ 153670 h 307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40" h="307340">
                  <a:moveTo>
                    <a:pt x="307340" y="153670"/>
                  </a:moveTo>
                  <a:cubicBezTo>
                    <a:pt x="307340" y="238539"/>
                    <a:pt x="238540" y="307340"/>
                    <a:pt x="153670" y="307340"/>
                  </a:cubicBezTo>
                  <a:cubicBezTo>
                    <a:pt x="68801" y="307340"/>
                    <a:pt x="1" y="238539"/>
                    <a:pt x="1" y="153670"/>
                  </a:cubicBezTo>
                  <a:cubicBezTo>
                    <a:pt x="1" y="68800"/>
                    <a:pt x="68801" y="0"/>
                    <a:pt x="153670" y="0"/>
                  </a:cubicBezTo>
                  <a:cubicBezTo>
                    <a:pt x="238540" y="0"/>
                    <a:pt x="307340" y="68800"/>
                    <a:pt x="307340" y="153670"/>
                  </a:cubicBezTo>
                  <a:close/>
                </a:path>
              </a:pathLst>
            </a:custGeom>
            <a:solidFill>
              <a:srgbClr val="EE0C3D"/>
            </a:solidFill>
            <a:ln w="6350" cap="flat">
              <a:noFill/>
              <a:prstDash val="solid"/>
              <a:miter/>
            </a:ln>
          </p:spPr>
          <p:txBody>
            <a:bodyPr rtlCol="0" anchor="ctr"/>
            <a:lstStyle/>
            <a:p>
              <a:endParaRPr lang="en-GB"/>
            </a:p>
          </p:txBody>
        </p:sp>
        <p:sp>
          <p:nvSpPr>
            <p:cNvPr id="121" name="Freeform: Shape 120">
              <a:extLst>
                <a:ext uri="{FF2B5EF4-FFF2-40B4-BE49-F238E27FC236}">
                  <a16:creationId xmlns:a16="http://schemas.microsoft.com/office/drawing/2014/main" id="{5B06C67B-9C07-4CE5-90D5-9DA180B7CDFF}"/>
                </a:ext>
              </a:extLst>
            </p:cNvPr>
            <p:cNvSpPr/>
            <p:nvPr/>
          </p:nvSpPr>
          <p:spPr bwMode="ltGray">
            <a:xfrm>
              <a:off x="8522334" y="6146800"/>
              <a:ext cx="299720" cy="299720"/>
            </a:xfrm>
            <a:custGeom>
              <a:avLst/>
              <a:gdLst>
                <a:gd name="connsiteX0" fmla="*/ 149860 w 299720"/>
                <a:gd name="connsiteY0" fmla="*/ 299720 h 299720"/>
                <a:gd name="connsiteX1" fmla="*/ 299720 w 299720"/>
                <a:gd name="connsiteY1" fmla="*/ 149860 h 299720"/>
                <a:gd name="connsiteX2" fmla="*/ 149860 w 299720"/>
                <a:gd name="connsiteY2" fmla="*/ 0 h 299720"/>
                <a:gd name="connsiteX3" fmla="*/ 0 w 299720"/>
                <a:gd name="connsiteY3" fmla="*/ 149860 h 299720"/>
                <a:gd name="connsiteX4" fmla="*/ 149860 w 299720"/>
                <a:gd name="connsiteY4" fmla="*/ 299720 h 29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20" h="299720">
                  <a:moveTo>
                    <a:pt x="149860" y="299720"/>
                  </a:moveTo>
                  <a:cubicBezTo>
                    <a:pt x="232410" y="299720"/>
                    <a:pt x="299720" y="232410"/>
                    <a:pt x="299720" y="149860"/>
                  </a:cubicBezTo>
                  <a:cubicBezTo>
                    <a:pt x="299720" y="67310"/>
                    <a:pt x="232410" y="0"/>
                    <a:pt x="149860" y="0"/>
                  </a:cubicBezTo>
                  <a:cubicBezTo>
                    <a:pt x="67310" y="0"/>
                    <a:pt x="0" y="67310"/>
                    <a:pt x="0" y="149860"/>
                  </a:cubicBezTo>
                  <a:cubicBezTo>
                    <a:pt x="0" y="232410"/>
                    <a:pt x="66675" y="299720"/>
                    <a:pt x="149860" y="299720"/>
                  </a:cubicBezTo>
                  <a:close/>
                </a:path>
              </a:pathLst>
            </a:custGeom>
            <a:solidFill>
              <a:srgbClr val="EE0C3D"/>
            </a:solidFill>
            <a:ln w="6350"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74FDEA93-48D9-4716-8D81-4BD8A1050B28}"/>
                </a:ext>
              </a:extLst>
            </p:cNvPr>
            <p:cNvSpPr/>
            <p:nvPr/>
          </p:nvSpPr>
          <p:spPr bwMode="ltGray">
            <a:xfrm>
              <a:off x="8166734" y="6156960"/>
              <a:ext cx="279400" cy="279400"/>
            </a:xfrm>
            <a:custGeom>
              <a:avLst/>
              <a:gdLst>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 name="connsiteX4" fmla="*/ 279400 w 279400"/>
                <a:gd name="connsiteY4" fmla="*/ 1397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cubicBezTo>
                    <a:pt x="216854" y="0"/>
                    <a:pt x="279400" y="62546"/>
                    <a:pt x="279400" y="139700"/>
                  </a:cubicBezTo>
                  <a:close/>
                </a:path>
              </a:pathLst>
            </a:custGeom>
            <a:solidFill>
              <a:srgbClr val="EE0C3D"/>
            </a:solidFill>
            <a:ln w="6350" cap="flat">
              <a:noFill/>
              <a:prstDash val="solid"/>
              <a:miter/>
            </a:ln>
          </p:spPr>
          <p:txBody>
            <a:bodyPr rtlCol="0" anchor="ctr"/>
            <a:lstStyle/>
            <a:p>
              <a:endParaRPr lang="en-GB"/>
            </a:p>
          </p:txBody>
        </p:sp>
        <p:sp>
          <p:nvSpPr>
            <p:cNvPr id="123" name="Freeform: Shape 122">
              <a:extLst>
                <a:ext uri="{FF2B5EF4-FFF2-40B4-BE49-F238E27FC236}">
                  <a16:creationId xmlns:a16="http://schemas.microsoft.com/office/drawing/2014/main" id="{684EA69B-9957-4BD2-AA28-6F251D75C2D7}"/>
                </a:ext>
              </a:extLst>
            </p:cNvPr>
            <p:cNvSpPr/>
            <p:nvPr/>
          </p:nvSpPr>
          <p:spPr bwMode="ltGray">
            <a:xfrm>
              <a:off x="7818755" y="6175375"/>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4610"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7967A94C-C19C-4310-A60D-1F963422CF17}"/>
                </a:ext>
              </a:extLst>
            </p:cNvPr>
            <p:cNvSpPr/>
            <p:nvPr/>
          </p:nvSpPr>
          <p:spPr bwMode="ltGray">
            <a:xfrm>
              <a:off x="7479030" y="620141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6" y="190500"/>
                    <a:pt x="95250" y="190500"/>
                  </a:cubicBezTo>
                  <a:cubicBezTo>
                    <a:pt x="42645" y="190500"/>
                    <a:pt x="0" y="147855"/>
                    <a:pt x="0" y="95250"/>
                  </a:cubicBezTo>
                  <a:cubicBezTo>
                    <a:pt x="0" y="42645"/>
                    <a:pt x="42645" y="0"/>
                    <a:pt x="95250" y="0"/>
                  </a:cubicBezTo>
                  <a:cubicBezTo>
                    <a:pt x="147856"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55E22F98-1EAE-40B9-B12A-137006AF0EBD}"/>
                </a:ext>
              </a:extLst>
            </p:cNvPr>
            <p:cNvSpPr/>
            <p:nvPr/>
          </p:nvSpPr>
          <p:spPr bwMode="ltGray">
            <a:xfrm>
              <a:off x="7143115" y="6231254"/>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EE0C3D"/>
            </a:solidFill>
            <a:ln w="6350" cap="flat">
              <a:no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5D9F21AB-12FB-41DA-ABD4-20B1E30CD023}"/>
                </a:ext>
              </a:extLst>
            </p:cNvPr>
            <p:cNvSpPr/>
            <p:nvPr/>
          </p:nvSpPr>
          <p:spPr bwMode="ltGray">
            <a:xfrm>
              <a:off x="6806565" y="6260465"/>
              <a:ext cx="72390" cy="72389"/>
            </a:xfrm>
            <a:custGeom>
              <a:avLst/>
              <a:gdLst>
                <a:gd name="connsiteX0" fmla="*/ 36195 w 72390"/>
                <a:gd name="connsiteY0" fmla="*/ 72390 h 72389"/>
                <a:gd name="connsiteX1" fmla="*/ 72390 w 72390"/>
                <a:gd name="connsiteY1" fmla="*/ 36195 h 72389"/>
                <a:gd name="connsiteX2" fmla="*/ 36195 w 72390"/>
                <a:gd name="connsiteY2" fmla="*/ 0 h 72389"/>
                <a:gd name="connsiteX3" fmla="*/ 0 w 72390"/>
                <a:gd name="connsiteY3" fmla="*/ 36195 h 72389"/>
                <a:gd name="connsiteX4" fmla="*/ 36195 w 72390"/>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 h="72389">
                  <a:moveTo>
                    <a:pt x="36195" y="72390"/>
                  </a:moveTo>
                  <a:cubicBezTo>
                    <a:pt x="56515" y="72390"/>
                    <a:pt x="72390" y="55880"/>
                    <a:pt x="72390" y="36195"/>
                  </a:cubicBezTo>
                  <a:cubicBezTo>
                    <a:pt x="72390" y="16510"/>
                    <a:pt x="55880" y="0"/>
                    <a:pt x="36195" y="0"/>
                  </a:cubicBezTo>
                  <a:cubicBezTo>
                    <a:pt x="16510" y="0"/>
                    <a:pt x="0" y="16510"/>
                    <a:pt x="0" y="36195"/>
                  </a:cubicBezTo>
                  <a:cubicBezTo>
                    <a:pt x="0" y="55880"/>
                    <a:pt x="15875" y="72390"/>
                    <a:pt x="36195" y="72390"/>
                  </a:cubicBezTo>
                  <a:close/>
                </a:path>
              </a:pathLst>
            </a:custGeom>
            <a:solidFill>
              <a:srgbClr val="EE0C3D"/>
            </a:solidFill>
            <a:ln w="6350" cap="flat">
              <a:no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DE0BF39D-F84E-4DCD-826E-0F1BF986F0BD}"/>
                </a:ext>
              </a:extLst>
            </p:cNvPr>
            <p:cNvSpPr/>
            <p:nvPr/>
          </p:nvSpPr>
          <p:spPr bwMode="ltGray">
            <a:xfrm>
              <a:off x="6459220" y="6279515"/>
              <a:ext cx="34290" cy="34290"/>
            </a:xfrm>
            <a:custGeom>
              <a:avLst/>
              <a:gdLst>
                <a:gd name="connsiteX0" fmla="*/ 34290 w 34290"/>
                <a:gd name="connsiteY0" fmla="*/ 17145 h 34290"/>
                <a:gd name="connsiteX1" fmla="*/ 17145 w 34290"/>
                <a:gd name="connsiteY1" fmla="*/ 34290 h 34290"/>
                <a:gd name="connsiteX2" fmla="*/ 0 w 34290"/>
                <a:gd name="connsiteY2" fmla="*/ 17145 h 34290"/>
                <a:gd name="connsiteX3" fmla="*/ 17145 w 34290"/>
                <a:gd name="connsiteY3" fmla="*/ 0 h 34290"/>
                <a:gd name="connsiteX4" fmla="*/ 34290 w 34290"/>
                <a:gd name="connsiteY4" fmla="*/ 17145 h 3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90">
                  <a:moveTo>
                    <a:pt x="34290" y="17145"/>
                  </a:moveTo>
                  <a:cubicBezTo>
                    <a:pt x="34290" y="26614"/>
                    <a:pt x="26614" y="34290"/>
                    <a:pt x="17145" y="34290"/>
                  </a:cubicBezTo>
                  <a:cubicBezTo>
                    <a:pt x="7676" y="34290"/>
                    <a:pt x="0" y="26614"/>
                    <a:pt x="0" y="17145"/>
                  </a:cubicBezTo>
                  <a:cubicBezTo>
                    <a:pt x="0" y="7676"/>
                    <a:pt x="7676" y="0"/>
                    <a:pt x="17145" y="0"/>
                  </a:cubicBezTo>
                  <a:cubicBezTo>
                    <a:pt x="26614" y="0"/>
                    <a:pt x="34290" y="7676"/>
                    <a:pt x="34290" y="17145"/>
                  </a:cubicBezTo>
                  <a:close/>
                </a:path>
              </a:pathLst>
            </a:custGeom>
            <a:solidFill>
              <a:srgbClr val="EE0C3D"/>
            </a:solidFill>
            <a:ln w="6350" cap="flat">
              <a:no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D8D64EAE-FA36-4D3A-BF2B-36775B0B3688}"/>
                </a:ext>
              </a:extLst>
            </p:cNvPr>
            <p:cNvSpPr/>
            <p:nvPr/>
          </p:nvSpPr>
          <p:spPr bwMode="ltGray">
            <a:xfrm>
              <a:off x="11944984" y="5909945"/>
              <a:ext cx="40640" cy="40639"/>
            </a:xfrm>
            <a:custGeom>
              <a:avLst/>
              <a:gdLst>
                <a:gd name="connsiteX0" fmla="*/ 20320 w 40640"/>
                <a:gd name="connsiteY0" fmla="*/ 40640 h 40639"/>
                <a:gd name="connsiteX1" fmla="*/ 40640 w 40640"/>
                <a:gd name="connsiteY1" fmla="*/ 20320 h 40639"/>
                <a:gd name="connsiteX2" fmla="*/ 20320 w 40640"/>
                <a:gd name="connsiteY2" fmla="*/ 0 h 40639"/>
                <a:gd name="connsiteX3" fmla="*/ 0 w 40640"/>
                <a:gd name="connsiteY3" fmla="*/ 20320 h 40639"/>
                <a:gd name="connsiteX4" fmla="*/ 20320 w 40640"/>
                <a:gd name="connsiteY4" fmla="*/ 40640 h 4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39">
                  <a:moveTo>
                    <a:pt x="20320" y="40640"/>
                  </a:moveTo>
                  <a:cubicBezTo>
                    <a:pt x="31115" y="40640"/>
                    <a:pt x="40640" y="31750"/>
                    <a:pt x="40640" y="20320"/>
                  </a:cubicBezTo>
                  <a:cubicBezTo>
                    <a:pt x="40640" y="8890"/>
                    <a:pt x="31750" y="0"/>
                    <a:pt x="20320" y="0"/>
                  </a:cubicBezTo>
                  <a:cubicBezTo>
                    <a:pt x="9525"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91DB0C18-603C-4F43-A766-013EA11D48F5}"/>
                </a:ext>
              </a:extLst>
            </p:cNvPr>
            <p:cNvSpPr/>
            <p:nvPr/>
          </p:nvSpPr>
          <p:spPr bwMode="ltGray">
            <a:xfrm>
              <a:off x="11559540" y="5890895"/>
              <a:ext cx="80009" cy="80009"/>
            </a:xfrm>
            <a:custGeom>
              <a:avLst/>
              <a:gdLst>
                <a:gd name="connsiteX0" fmla="*/ 80010 w 80009"/>
                <a:gd name="connsiteY0" fmla="*/ 40005 h 80009"/>
                <a:gd name="connsiteX1" fmla="*/ 40005 w 80009"/>
                <a:gd name="connsiteY1" fmla="*/ 80010 h 80009"/>
                <a:gd name="connsiteX2" fmla="*/ -1 w 80009"/>
                <a:gd name="connsiteY2" fmla="*/ 40005 h 80009"/>
                <a:gd name="connsiteX3" fmla="*/ 40005 w 80009"/>
                <a:gd name="connsiteY3" fmla="*/ 0 h 80009"/>
                <a:gd name="connsiteX4" fmla="*/ 8001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80010" y="40005"/>
                  </a:moveTo>
                  <a:cubicBezTo>
                    <a:pt x="80010" y="62099"/>
                    <a:pt x="62099" y="80010"/>
                    <a:pt x="40005" y="80010"/>
                  </a:cubicBezTo>
                  <a:cubicBezTo>
                    <a:pt x="17911" y="80010"/>
                    <a:pt x="-1" y="62099"/>
                    <a:pt x="-1" y="40005"/>
                  </a:cubicBezTo>
                  <a:cubicBezTo>
                    <a:pt x="-1" y="17911"/>
                    <a:pt x="17910" y="0"/>
                    <a:pt x="40005" y="0"/>
                  </a:cubicBezTo>
                  <a:cubicBezTo>
                    <a:pt x="62099" y="0"/>
                    <a:pt x="80010" y="17911"/>
                    <a:pt x="80010" y="40005"/>
                  </a:cubicBezTo>
                  <a:close/>
                </a:path>
              </a:pathLst>
            </a:custGeom>
            <a:solidFill>
              <a:srgbClr val="EE0C3D"/>
            </a:solidFill>
            <a:ln w="6350"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9237CC18-C126-47AC-ACB0-869067F50C85}"/>
                </a:ext>
              </a:extLst>
            </p:cNvPr>
            <p:cNvSpPr/>
            <p:nvPr/>
          </p:nvSpPr>
          <p:spPr bwMode="ltGray">
            <a:xfrm>
              <a:off x="11165840" y="5863590"/>
              <a:ext cx="134619" cy="134619"/>
            </a:xfrm>
            <a:custGeom>
              <a:avLst/>
              <a:gdLst>
                <a:gd name="connsiteX0" fmla="*/ 67310 w 134619"/>
                <a:gd name="connsiteY0" fmla="*/ 134620 h 134619"/>
                <a:gd name="connsiteX1" fmla="*/ 134620 w 134619"/>
                <a:gd name="connsiteY1" fmla="*/ 67310 h 134619"/>
                <a:gd name="connsiteX2" fmla="*/ 67310 w 134619"/>
                <a:gd name="connsiteY2" fmla="*/ 0 h 134619"/>
                <a:gd name="connsiteX3" fmla="*/ 0 w 134619"/>
                <a:gd name="connsiteY3" fmla="*/ 67310 h 134619"/>
                <a:gd name="connsiteX4" fmla="*/ 67310 w 134619"/>
                <a:gd name="connsiteY4" fmla="*/ 134620 h 13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19" h="134619">
                  <a:moveTo>
                    <a:pt x="67310" y="134620"/>
                  </a:moveTo>
                  <a:cubicBezTo>
                    <a:pt x="104140" y="134620"/>
                    <a:pt x="134620" y="104775"/>
                    <a:pt x="134620" y="67310"/>
                  </a:cubicBezTo>
                  <a:cubicBezTo>
                    <a:pt x="134620" y="29845"/>
                    <a:pt x="104775" y="0"/>
                    <a:pt x="67310" y="0"/>
                  </a:cubicBezTo>
                  <a:cubicBezTo>
                    <a:pt x="30480" y="0"/>
                    <a:pt x="0" y="29845"/>
                    <a:pt x="0" y="67310"/>
                  </a:cubicBezTo>
                  <a:cubicBezTo>
                    <a:pt x="0" y="104775"/>
                    <a:pt x="30480" y="134620"/>
                    <a:pt x="67310" y="134620"/>
                  </a:cubicBezTo>
                  <a:close/>
                </a:path>
              </a:pathLst>
            </a:custGeom>
            <a:solidFill>
              <a:srgbClr val="EE0C3D"/>
            </a:solidFill>
            <a:ln w="6350"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DE894D52-18DF-434F-9B15-4FBB68C5C4A4}"/>
                </a:ext>
              </a:extLst>
            </p:cNvPr>
            <p:cNvSpPr/>
            <p:nvPr/>
          </p:nvSpPr>
          <p:spPr bwMode="ltGray">
            <a:xfrm>
              <a:off x="10772140" y="5835650"/>
              <a:ext cx="190500" cy="19050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5" y="190500"/>
                    <a:pt x="95250" y="190500"/>
                  </a:cubicBezTo>
                  <a:cubicBezTo>
                    <a:pt x="42645" y="190500"/>
                    <a:pt x="0" y="147855"/>
                    <a:pt x="0" y="95250"/>
                  </a:cubicBezTo>
                  <a:cubicBezTo>
                    <a:pt x="0" y="42645"/>
                    <a:pt x="42645" y="0"/>
                    <a:pt x="95250" y="0"/>
                  </a:cubicBezTo>
                  <a:cubicBezTo>
                    <a:pt x="147855" y="0"/>
                    <a:pt x="190500" y="42645"/>
                    <a:pt x="190500" y="95250"/>
                  </a:cubicBezTo>
                  <a:close/>
                </a:path>
              </a:pathLst>
            </a:custGeom>
            <a:solidFill>
              <a:srgbClr val="EE0C3D"/>
            </a:solidFill>
            <a:ln w="6350" cap="flat">
              <a:no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FADE9EF3-3748-4F67-8873-F22D25F8B36A}"/>
                </a:ext>
              </a:extLst>
            </p:cNvPr>
            <p:cNvSpPr/>
            <p:nvPr/>
          </p:nvSpPr>
          <p:spPr bwMode="ltGray">
            <a:xfrm>
              <a:off x="10382884" y="5812154"/>
              <a:ext cx="237490" cy="237490"/>
            </a:xfrm>
            <a:custGeom>
              <a:avLst/>
              <a:gdLst>
                <a:gd name="connsiteX0" fmla="*/ 118745 w 237490"/>
                <a:gd name="connsiteY0" fmla="*/ 237490 h 237490"/>
                <a:gd name="connsiteX1" fmla="*/ 237490 w 237490"/>
                <a:gd name="connsiteY1" fmla="*/ 118745 h 237490"/>
                <a:gd name="connsiteX2" fmla="*/ 118745 w 237490"/>
                <a:gd name="connsiteY2" fmla="*/ 0 h 237490"/>
                <a:gd name="connsiteX3" fmla="*/ 0 w 237490"/>
                <a:gd name="connsiteY3" fmla="*/ 118745 h 237490"/>
                <a:gd name="connsiteX4" fmla="*/ 118745 w 237490"/>
                <a:gd name="connsiteY4" fmla="*/ 237490 h 237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490" h="237490">
                  <a:moveTo>
                    <a:pt x="118745" y="237490"/>
                  </a:moveTo>
                  <a:cubicBezTo>
                    <a:pt x="184150" y="237490"/>
                    <a:pt x="237490" y="184150"/>
                    <a:pt x="237490" y="118745"/>
                  </a:cubicBezTo>
                  <a:cubicBezTo>
                    <a:pt x="237490" y="53340"/>
                    <a:pt x="184150" y="0"/>
                    <a:pt x="118745" y="0"/>
                  </a:cubicBezTo>
                  <a:cubicBezTo>
                    <a:pt x="53340" y="0"/>
                    <a:pt x="0" y="53340"/>
                    <a:pt x="0" y="118745"/>
                  </a:cubicBezTo>
                  <a:cubicBezTo>
                    <a:pt x="0" y="184150"/>
                    <a:pt x="53340" y="237490"/>
                    <a:pt x="118745" y="237490"/>
                  </a:cubicBezTo>
                  <a:close/>
                </a:path>
              </a:pathLst>
            </a:custGeom>
            <a:solidFill>
              <a:srgbClr val="EE0C3D"/>
            </a:solidFill>
            <a:ln w="6350"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0180ECD4-3C9B-4E51-B7A8-0BA2763A2895}"/>
                </a:ext>
              </a:extLst>
            </p:cNvPr>
            <p:cNvSpPr/>
            <p:nvPr/>
          </p:nvSpPr>
          <p:spPr bwMode="ltGray">
            <a:xfrm>
              <a:off x="10001250" y="5795645"/>
              <a:ext cx="269240" cy="269239"/>
            </a:xfrm>
            <a:custGeom>
              <a:avLst/>
              <a:gdLst>
                <a:gd name="connsiteX0" fmla="*/ 134620 w 269240"/>
                <a:gd name="connsiteY0" fmla="*/ 269240 h 269239"/>
                <a:gd name="connsiteX1" fmla="*/ 269240 w 269240"/>
                <a:gd name="connsiteY1" fmla="*/ 134620 h 269239"/>
                <a:gd name="connsiteX2" fmla="*/ 134620 w 269240"/>
                <a:gd name="connsiteY2" fmla="*/ 0 h 269239"/>
                <a:gd name="connsiteX3" fmla="*/ 0 w 269240"/>
                <a:gd name="connsiteY3" fmla="*/ 134620 h 269239"/>
                <a:gd name="connsiteX4" fmla="*/ 134620 w 269240"/>
                <a:gd name="connsiteY4" fmla="*/ 269240 h 269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40" h="269239">
                  <a:moveTo>
                    <a:pt x="134620" y="269240"/>
                  </a:moveTo>
                  <a:cubicBezTo>
                    <a:pt x="208915" y="269240"/>
                    <a:pt x="269240" y="208915"/>
                    <a:pt x="269240" y="134620"/>
                  </a:cubicBezTo>
                  <a:cubicBezTo>
                    <a:pt x="269240" y="60325"/>
                    <a:pt x="208915" y="0"/>
                    <a:pt x="134620" y="0"/>
                  </a:cubicBezTo>
                  <a:cubicBezTo>
                    <a:pt x="60325" y="0"/>
                    <a:pt x="0" y="60325"/>
                    <a:pt x="0" y="134620"/>
                  </a:cubicBezTo>
                  <a:cubicBezTo>
                    <a:pt x="0" y="209550"/>
                    <a:pt x="60325" y="269240"/>
                    <a:pt x="134620" y="269240"/>
                  </a:cubicBezTo>
                  <a:close/>
                </a:path>
              </a:pathLst>
            </a:custGeom>
            <a:solidFill>
              <a:srgbClr val="EE0C3D"/>
            </a:solidFill>
            <a:ln w="6350"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2C493A69-36F7-41BC-B5AC-D432F9525425}"/>
                </a:ext>
              </a:extLst>
            </p:cNvPr>
            <p:cNvSpPr/>
            <p:nvPr/>
          </p:nvSpPr>
          <p:spPr bwMode="ltGray">
            <a:xfrm>
              <a:off x="9627235" y="5788025"/>
              <a:ext cx="285750" cy="285750"/>
            </a:xfrm>
            <a:custGeom>
              <a:avLst/>
              <a:gdLst>
                <a:gd name="connsiteX0" fmla="*/ 285750 w 285750"/>
                <a:gd name="connsiteY0" fmla="*/ 142875 h 285750"/>
                <a:gd name="connsiteX1" fmla="*/ 142875 w 285750"/>
                <a:gd name="connsiteY1" fmla="*/ 285750 h 285750"/>
                <a:gd name="connsiteX2" fmla="*/ 0 w 285750"/>
                <a:gd name="connsiteY2" fmla="*/ 142875 h 285750"/>
                <a:gd name="connsiteX3" fmla="*/ 142875 w 285750"/>
                <a:gd name="connsiteY3" fmla="*/ 0 h 285750"/>
                <a:gd name="connsiteX4" fmla="*/ 285750 w 285750"/>
                <a:gd name="connsiteY4" fmla="*/ 1428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285750">
                  <a:moveTo>
                    <a:pt x="285750" y="142875"/>
                  </a:moveTo>
                  <a:cubicBezTo>
                    <a:pt x="285750" y="221783"/>
                    <a:pt x="221782" y="285750"/>
                    <a:pt x="142875" y="285750"/>
                  </a:cubicBezTo>
                  <a:cubicBezTo>
                    <a:pt x="63967" y="285750"/>
                    <a:pt x="0" y="221783"/>
                    <a:pt x="0" y="142875"/>
                  </a:cubicBezTo>
                  <a:cubicBezTo>
                    <a:pt x="0" y="63967"/>
                    <a:pt x="63967" y="0"/>
                    <a:pt x="142875" y="0"/>
                  </a:cubicBezTo>
                  <a:cubicBezTo>
                    <a:pt x="221782" y="0"/>
                    <a:pt x="285750" y="63967"/>
                    <a:pt x="285750" y="142875"/>
                  </a:cubicBezTo>
                  <a:close/>
                </a:path>
              </a:pathLst>
            </a:custGeom>
            <a:solidFill>
              <a:srgbClr val="EE0C3D"/>
            </a:solidFill>
            <a:ln w="6350" cap="flat">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9B5E05B6-5F62-4370-B53C-53E3535B04CE}"/>
                </a:ext>
              </a:extLst>
            </p:cNvPr>
            <p:cNvSpPr/>
            <p:nvPr/>
          </p:nvSpPr>
          <p:spPr bwMode="ltGray">
            <a:xfrm>
              <a:off x="9257665" y="5784850"/>
              <a:ext cx="292100" cy="292100"/>
            </a:xfrm>
            <a:custGeom>
              <a:avLst/>
              <a:gdLst>
                <a:gd name="connsiteX0" fmla="*/ 146050 w 292100"/>
                <a:gd name="connsiteY0" fmla="*/ 292100 h 292100"/>
                <a:gd name="connsiteX1" fmla="*/ 292100 w 292100"/>
                <a:gd name="connsiteY1" fmla="*/ 146050 h 292100"/>
                <a:gd name="connsiteX2" fmla="*/ 146050 w 292100"/>
                <a:gd name="connsiteY2" fmla="*/ 0 h 292100"/>
                <a:gd name="connsiteX3" fmla="*/ 0 w 292100"/>
                <a:gd name="connsiteY3" fmla="*/ 146050 h 292100"/>
                <a:gd name="connsiteX4" fmla="*/ 146050 w 292100"/>
                <a:gd name="connsiteY4" fmla="*/ 29210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100" h="292100">
                  <a:moveTo>
                    <a:pt x="146050" y="292100"/>
                  </a:moveTo>
                  <a:cubicBezTo>
                    <a:pt x="226695" y="292100"/>
                    <a:pt x="292100" y="226695"/>
                    <a:pt x="292100" y="146050"/>
                  </a:cubicBezTo>
                  <a:cubicBezTo>
                    <a:pt x="292100" y="65405"/>
                    <a:pt x="226695" y="0"/>
                    <a:pt x="146050" y="0"/>
                  </a:cubicBezTo>
                  <a:cubicBezTo>
                    <a:pt x="65405" y="0"/>
                    <a:pt x="0" y="65405"/>
                    <a:pt x="0" y="146050"/>
                  </a:cubicBezTo>
                  <a:cubicBezTo>
                    <a:pt x="0" y="226695"/>
                    <a:pt x="65405" y="292100"/>
                    <a:pt x="146050" y="292100"/>
                  </a:cubicBezTo>
                  <a:close/>
                </a:path>
              </a:pathLst>
            </a:custGeom>
            <a:solidFill>
              <a:srgbClr val="EE0C3D"/>
            </a:solidFill>
            <a:ln w="6350"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AB5F552-970B-4DCA-A829-3EE5A6B31275}"/>
                </a:ext>
              </a:extLst>
            </p:cNvPr>
            <p:cNvSpPr/>
            <p:nvPr/>
          </p:nvSpPr>
          <p:spPr bwMode="ltGray">
            <a:xfrm>
              <a:off x="8892540" y="5785485"/>
              <a:ext cx="290830" cy="290829"/>
            </a:xfrm>
            <a:custGeom>
              <a:avLst/>
              <a:gdLst>
                <a:gd name="connsiteX0" fmla="*/ 290830 w 290830"/>
                <a:gd name="connsiteY0" fmla="*/ 145415 h 290829"/>
                <a:gd name="connsiteX1" fmla="*/ 145415 w 290830"/>
                <a:gd name="connsiteY1" fmla="*/ 290830 h 290829"/>
                <a:gd name="connsiteX2" fmla="*/ -1 w 290830"/>
                <a:gd name="connsiteY2" fmla="*/ 145415 h 290829"/>
                <a:gd name="connsiteX3" fmla="*/ 145415 w 290830"/>
                <a:gd name="connsiteY3" fmla="*/ 0 h 290829"/>
                <a:gd name="connsiteX4" fmla="*/ 290830 w 290830"/>
                <a:gd name="connsiteY4" fmla="*/ 145415 h 29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30" h="290829">
                  <a:moveTo>
                    <a:pt x="290830" y="145415"/>
                  </a:moveTo>
                  <a:cubicBezTo>
                    <a:pt x="290830" y="225726"/>
                    <a:pt x="225725" y="290830"/>
                    <a:pt x="145415" y="290830"/>
                  </a:cubicBezTo>
                  <a:cubicBezTo>
                    <a:pt x="65104" y="290830"/>
                    <a:pt x="-1" y="225726"/>
                    <a:pt x="-1" y="145415"/>
                  </a:cubicBezTo>
                  <a:cubicBezTo>
                    <a:pt x="-1" y="65104"/>
                    <a:pt x="65104" y="0"/>
                    <a:pt x="145415" y="0"/>
                  </a:cubicBezTo>
                  <a:cubicBezTo>
                    <a:pt x="225725" y="0"/>
                    <a:pt x="290830" y="65104"/>
                    <a:pt x="290830" y="145415"/>
                  </a:cubicBezTo>
                  <a:close/>
                </a:path>
              </a:pathLst>
            </a:custGeom>
            <a:solidFill>
              <a:srgbClr val="EE0C3D"/>
            </a:solidFill>
            <a:ln w="6350"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A54D0BB2-647D-44B9-A2F9-7EE40196D23A}"/>
                </a:ext>
              </a:extLst>
            </p:cNvPr>
            <p:cNvSpPr/>
            <p:nvPr/>
          </p:nvSpPr>
          <p:spPr bwMode="ltGray">
            <a:xfrm>
              <a:off x="8532494" y="5791200"/>
              <a:ext cx="279400" cy="279400"/>
            </a:xfrm>
            <a:custGeom>
              <a:avLst/>
              <a:gdLst>
                <a:gd name="connsiteX0" fmla="*/ 139700 w 279400"/>
                <a:gd name="connsiteY0" fmla="*/ 279400 h 279400"/>
                <a:gd name="connsiteX1" fmla="*/ 279400 w 279400"/>
                <a:gd name="connsiteY1" fmla="*/ 139700 h 279400"/>
                <a:gd name="connsiteX2" fmla="*/ 139700 w 279400"/>
                <a:gd name="connsiteY2" fmla="*/ 0 h 279400"/>
                <a:gd name="connsiteX3" fmla="*/ 0 w 279400"/>
                <a:gd name="connsiteY3" fmla="*/ 139700 h 279400"/>
                <a:gd name="connsiteX4" fmla="*/ 139700 w 279400"/>
                <a:gd name="connsiteY4" fmla="*/ 27940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279400"/>
                  </a:moveTo>
                  <a:cubicBezTo>
                    <a:pt x="217170" y="279400"/>
                    <a:pt x="279400" y="216535"/>
                    <a:pt x="279400" y="139700"/>
                  </a:cubicBezTo>
                  <a:cubicBezTo>
                    <a:pt x="279400" y="62865"/>
                    <a:pt x="216536" y="0"/>
                    <a:pt x="139700" y="0"/>
                  </a:cubicBezTo>
                  <a:cubicBezTo>
                    <a:pt x="62230" y="0"/>
                    <a:pt x="0" y="62865"/>
                    <a:pt x="0" y="139700"/>
                  </a:cubicBezTo>
                  <a:cubicBezTo>
                    <a:pt x="0" y="216535"/>
                    <a:pt x="62230" y="279400"/>
                    <a:pt x="139700" y="279400"/>
                  </a:cubicBezTo>
                  <a:close/>
                </a:path>
              </a:pathLst>
            </a:custGeom>
            <a:solidFill>
              <a:srgbClr val="EE0C3D"/>
            </a:solidFill>
            <a:ln w="6350"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64906D9E-3EC1-4B02-8DAC-116DC3161786}"/>
                </a:ext>
              </a:extLst>
            </p:cNvPr>
            <p:cNvSpPr/>
            <p:nvPr/>
          </p:nvSpPr>
          <p:spPr bwMode="ltGray">
            <a:xfrm>
              <a:off x="8178164" y="5802630"/>
              <a:ext cx="256540" cy="256540"/>
            </a:xfrm>
            <a:custGeom>
              <a:avLst/>
              <a:gdLst>
                <a:gd name="connsiteX0" fmla="*/ 256540 w 256540"/>
                <a:gd name="connsiteY0" fmla="*/ 128270 h 256540"/>
                <a:gd name="connsiteX1" fmla="*/ 128271 w 256540"/>
                <a:gd name="connsiteY1" fmla="*/ 256540 h 256540"/>
                <a:gd name="connsiteX2" fmla="*/ 1 w 256540"/>
                <a:gd name="connsiteY2" fmla="*/ 128270 h 256540"/>
                <a:gd name="connsiteX3" fmla="*/ 128271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1" y="256540"/>
                  </a:cubicBezTo>
                  <a:cubicBezTo>
                    <a:pt x="57429" y="256540"/>
                    <a:pt x="1" y="199112"/>
                    <a:pt x="1" y="128270"/>
                  </a:cubicBezTo>
                  <a:cubicBezTo>
                    <a:pt x="1" y="57429"/>
                    <a:pt x="57429" y="0"/>
                    <a:pt x="128271" y="0"/>
                  </a:cubicBezTo>
                  <a:cubicBezTo>
                    <a:pt x="199112" y="0"/>
                    <a:pt x="256540" y="57428"/>
                    <a:pt x="256540" y="128270"/>
                  </a:cubicBezTo>
                  <a:close/>
                </a:path>
              </a:pathLst>
            </a:custGeom>
            <a:solidFill>
              <a:srgbClr val="EE0C3D"/>
            </a:solidFill>
            <a:ln w="6350"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E57B6A4E-B158-438E-952A-F0924482EB0D}"/>
                </a:ext>
              </a:extLst>
            </p:cNvPr>
            <p:cNvSpPr/>
            <p:nvPr/>
          </p:nvSpPr>
          <p:spPr bwMode="ltGray">
            <a:xfrm>
              <a:off x="7833359" y="5824220"/>
              <a:ext cx="213359" cy="213359"/>
            </a:xfrm>
            <a:custGeom>
              <a:avLst/>
              <a:gdLst>
                <a:gd name="connsiteX0" fmla="*/ 106680 w 213359"/>
                <a:gd name="connsiteY0" fmla="*/ 213360 h 213359"/>
                <a:gd name="connsiteX1" fmla="*/ 213360 w 213359"/>
                <a:gd name="connsiteY1" fmla="*/ 106680 h 213359"/>
                <a:gd name="connsiteX2" fmla="*/ 106680 w 213359"/>
                <a:gd name="connsiteY2" fmla="*/ 0 h 213359"/>
                <a:gd name="connsiteX3" fmla="*/ 0 w 213359"/>
                <a:gd name="connsiteY3" fmla="*/ 106680 h 213359"/>
                <a:gd name="connsiteX4" fmla="*/ 106680 w 213359"/>
                <a:gd name="connsiteY4" fmla="*/ 213360 h 213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59">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8260" y="213360"/>
                    <a:pt x="106680" y="213360"/>
                  </a:cubicBezTo>
                  <a:close/>
                </a:path>
              </a:pathLst>
            </a:custGeom>
            <a:solidFill>
              <a:srgbClr val="EE0C3D"/>
            </a:solidFill>
            <a:ln w="6350"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B5DE983A-BE79-4ED0-AB4D-42CAB932518A}"/>
                </a:ext>
              </a:extLst>
            </p:cNvPr>
            <p:cNvSpPr/>
            <p:nvPr/>
          </p:nvSpPr>
          <p:spPr bwMode="ltGray">
            <a:xfrm>
              <a:off x="7493000" y="5849620"/>
              <a:ext cx="162559" cy="162559"/>
            </a:xfrm>
            <a:custGeom>
              <a:avLst/>
              <a:gdLst>
                <a:gd name="connsiteX0" fmla="*/ 162560 w 162559"/>
                <a:gd name="connsiteY0" fmla="*/ 81280 h 162559"/>
                <a:gd name="connsiteX1" fmla="*/ 81280 w 162559"/>
                <a:gd name="connsiteY1" fmla="*/ 162560 h 162559"/>
                <a:gd name="connsiteX2" fmla="*/ -1 w 162559"/>
                <a:gd name="connsiteY2" fmla="*/ 81280 h 162559"/>
                <a:gd name="connsiteX3" fmla="*/ 81280 w 162559"/>
                <a:gd name="connsiteY3" fmla="*/ 0 h 162559"/>
                <a:gd name="connsiteX4" fmla="*/ 162560 w 162559"/>
                <a:gd name="connsiteY4" fmla="*/ 8128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162560" y="81280"/>
                  </a:moveTo>
                  <a:cubicBezTo>
                    <a:pt x="162560" y="126170"/>
                    <a:pt x="126170" y="162560"/>
                    <a:pt x="81280" y="162560"/>
                  </a:cubicBezTo>
                  <a:cubicBezTo>
                    <a:pt x="36390" y="162560"/>
                    <a:pt x="-1" y="126170"/>
                    <a:pt x="-1" y="81280"/>
                  </a:cubicBezTo>
                  <a:cubicBezTo>
                    <a:pt x="-1" y="36390"/>
                    <a:pt x="36389" y="0"/>
                    <a:pt x="81280" y="0"/>
                  </a:cubicBezTo>
                  <a:cubicBezTo>
                    <a:pt x="126169" y="0"/>
                    <a:pt x="162560" y="36390"/>
                    <a:pt x="162560" y="81280"/>
                  </a:cubicBezTo>
                  <a:close/>
                </a:path>
              </a:pathLst>
            </a:custGeom>
            <a:solidFill>
              <a:srgbClr val="EE0C3D"/>
            </a:solidFill>
            <a:ln w="6350" cap="flat">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D3601FE6-0DC6-406A-BDB7-4CAE424751B7}"/>
                </a:ext>
              </a:extLst>
            </p:cNvPr>
            <p:cNvSpPr/>
            <p:nvPr/>
          </p:nvSpPr>
          <p:spPr bwMode="ltGray">
            <a:xfrm>
              <a:off x="7155815" y="5878195"/>
              <a:ext cx="105409" cy="105409"/>
            </a:xfrm>
            <a:custGeom>
              <a:avLst/>
              <a:gdLst>
                <a:gd name="connsiteX0" fmla="*/ 52705 w 105409"/>
                <a:gd name="connsiteY0" fmla="*/ 105410 h 105409"/>
                <a:gd name="connsiteX1" fmla="*/ 105410 w 105409"/>
                <a:gd name="connsiteY1" fmla="*/ 52705 h 105409"/>
                <a:gd name="connsiteX2" fmla="*/ 52705 w 105409"/>
                <a:gd name="connsiteY2" fmla="*/ 0 h 105409"/>
                <a:gd name="connsiteX3" fmla="*/ 0 w 105409"/>
                <a:gd name="connsiteY3" fmla="*/ 52705 h 105409"/>
                <a:gd name="connsiteX4" fmla="*/ 52705 w 105409"/>
                <a:gd name="connsiteY4" fmla="*/ 105410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52705" y="105410"/>
                  </a:moveTo>
                  <a:cubicBezTo>
                    <a:pt x="81915" y="105410"/>
                    <a:pt x="105410" y="81915"/>
                    <a:pt x="105410" y="52705"/>
                  </a:cubicBezTo>
                  <a:cubicBezTo>
                    <a:pt x="105410" y="23495"/>
                    <a:pt x="81915" y="0"/>
                    <a:pt x="52705" y="0"/>
                  </a:cubicBezTo>
                  <a:cubicBezTo>
                    <a:pt x="23495" y="0"/>
                    <a:pt x="0" y="23495"/>
                    <a:pt x="0" y="52705"/>
                  </a:cubicBezTo>
                  <a:cubicBezTo>
                    <a:pt x="0" y="81915"/>
                    <a:pt x="23495" y="105410"/>
                    <a:pt x="52705" y="105410"/>
                  </a:cubicBezTo>
                  <a:close/>
                </a:path>
              </a:pathLst>
            </a:custGeom>
            <a:solidFill>
              <a:srgbClr val="EE0C3D"/>
            </a:solidFill>
            <a:ln w="6350" cap="flat">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445272B-3B3B-4923-924F-520BF7A0A881}"/>
                </a:ext>
              </a:extLst>
            </p:cNvPr>
            <p:cNvSpPr/>
            <p:nvPr/>
          </p:nvSpPr>
          <p:spPr bwMode="ltGray">
            <a:xfrm>
              <a:off x="6814819" y="5902959"/>
              <a:ext cx="55880" cy="55880"/>
            </a:xfrm>
            <a:custGeom>
              <a:avLst/>
              <a:gdLst>
                <a:gd name="connsiteX0" fmla="*/ 27940 w 55880"/>
                <a:gd name="connsiteY0" fmla="*/ 55880 h 55880"/>
                <a:gd name="connsiteX1" fmla="*/ 55880 w 55880"/>
                <a:gd name="connsiteY1" fmla="*/ 27940 h 55880"/>
                <a:gd name="connsiteX2" fmla="*/ 27940 w 55880"/>
                <a:gd name="connsiteY2" fmla="*/ 0 h 55880"/>
                <a:gd name="connsiteX3" fmla="*/ 0 w 55880"/>
                <a:gd name="connsiteY3" fmla="*/ 27940 h 55880"/>
                <a:gd name="connsiteX4" fmla="*/ 27940 w 55880"/>
                <a:gd name="connsiteY4" fmla="*/ 55880 h 55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80">
                  <a:moveTo>
                    <a:pt x="27940" y="55880"/>
                  </a:moveTo>
                  <a:cubicBezTo>
                    <a:pt x="43815" y="55880"/>
                    <a:pt x="55880" y="43180"/>
                    <a:pt x="55880" y="27940"/>
                  </a:cubicBezTo>
                  <a:cubicBezTo>
                    <a:pt x="55880" y="12700"/>
                    <a:pt x="43180" y="0"/>
                    <a:pt x="27940" y="0"/>
                  </a:cubicBezTo>
                  <a:cubicBezTo>
                    <a:pt x="12700" y="0"/>
                    <a:pt x="0" y="12700"/>
                    <a:pt x="0" y="27940"/>
                  </a:cubicBezTo>
                  <a:cubicBezTo>
                    <a:pt x="0" y="43180"/>
                    <a:pt x="12065" y="55880"/>
                    <a:pt x="27940" y="55880"/>
                  </a:cubicBezTo>
                  <a:close/>
                </a:path>
              </a:pathLst>
            </a:custGeom>
            <a:solidFill>
              <a:srgbClr val="EE0C3D"/>
            </a:solidFill>
            <a:ln w="6350" cap="flat">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5DBDA549-468B-4FC7-9E14-9FB7D286CA3B}"/>
                </a:ext>
              </a:extLst>
            </p:cNvPr>
            <p:cNvSpPr/>
            <p:nvPr/>
          </p:nvSpPr>
          <p:spPr bwMode="ltGray">
            <a:xfrm>
              <a:off x="11570970" y="5535930"/>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6" y="57150"/>
                    <a:pt x="28575" y="57150"/>
                  </a:cubicBezTo>
                  <a:cubicBezTo>
                    <a:pt x="12793" y="57150"/>
                    <a:pt x="0" y="44357"/>
                    <a:pt x="0" y="28575"/>
                  </a:cubicBezTo>
                  <a:cubicBezTo>
                    <a:pt x="0" y="12793"/>
                    <a:pt x="12793" y="0"/>
                    <a:pt x="28575" y="0"/>
                  </a:cubicBezTo>
                  <a:cubicBezTo>
                    <a:pt x="44356" y="0"/>
                    <a:pt x="57150" y="12793"/>
                    <a:pt x="57150" y="28575"/>
                  </a:cubicBezTo>
                  <a:close/>
                </a:path>
              </a:pathLst>
            </a:custGeom>
            <a:solidFill>
              <a:srgbClr val="EE0C3D"/>
            </a:solidFill>
            <a:ln w="6350" cap="flat">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E4B1A40A-0BB5-406D-8E0A-192604FD6375}"/>
                </a:ext>
              </a:extLst>
            </p:cNvPr>
            <p:cNvSpPr/>
            <p:nvPr/>
          </p:nvSpPr>
          <p:spPr bwMode="ltGray">
            <a:xfrm>
              <a:off x="11182985" y="5514340"/>
              <a:ext cx="100330" cy="100329"/>
            </a:xfrm>
            <a:custGeom>
              <a:avLst/>
              <a:gdLst>
                <a:gd name="connsiteX0" fmla="*/ 100330 w 100330"/>
                <a:gd name="connsiteY0" fmla="*/ 50165 h 100329"/>
                <a:gd name="connsiteX1" fmla="*/ 50165 w 100330"/>
                <a:gd name="connsiteY1" fmla="*/ 100330 h 100329"/>
                <a:gd name="connsiteX2" fmla="*/ 0 w 100330"/>
                <a:gd name="connsiteY2" fmla="*/ 50165 h 100329"/>
                <a:gd name="connsiteX3" fmla="*/ 50165 w 100330"/>
                <a:gd name="connsiteY3" fmla="*/ 0 h 100329"/>
                <a:gd name="connsiteX4" fmla="*/ 100330 w 100330"/>
                <a:gd name="connsiteY4" fmla="*/ 50165 h 1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0" h="100329">
                  <a:moveTo>
                    <a:pt x="100330" y="50165"/>
                  </a:moveTo>
                  <a:cubicBezTo>
                    <a:pt x="100330" y="77870"/>
                    <a:pt x="77870" y="100330"/>
                    <a:pt x="50165" y="100330"/>
                  </a:cubicBezTo>
                  <a:cubicBezTo>
                    <a:pt x="22460" y="100330"/>
                    <a:pt x="0" y="77871"/>
                    <a:pt x="0" y="50165"/>
                  </a:cubicBezTo>
                  <a:cubicBezTo>
                    <a:pt x="0" y="22460"/>
                    <a:pt x="22460" y="0"/>
                    <a:pt x="50165" y="0"/>
                  </a:cubicBezTo>
                  <a:cubicBezTo>
                    <a:pt x="77870" y="0"/>
                    <a:pt x="100330" y="22459"/>
                    <a:pt x="100330" y="50165"/>
                  </a:cubicBezTo>
                  <a:close/>
                </a:path>
              </a:pathLst>
            </a:custGeom>
            <a:solidFill>
              <a:srgbClr val="EE0C3D"/>
            </a:solidFill>
            <a:ln w="6350" cap="flat">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C9D29980-09EC-48B5-A37C-3F05AC2F27D8}"/>
                </a:ext>
              </a:extLst>
            </p:cNvPr>
            <p:cNvSpPr/>
            <p:nvPr/>
          </p:nvSpPr>
          <p:spPr bwMode="ltGray">
            <a:xfrm>
              <a:off x="10791825" y="5488940"/>
              <a:ext cx="151130" cy="151129"/>
            </a:xfrm>
            <a:custGeom>
              <a:avLst/>
              <a:gdLst>
                <a:gd name="connsiteX0" fmla="*/ 151130 w 151130"/>
                <a:gd name="connsiteY0" fmla="*/ 75565 h 151129"/>
                <a:gd name="connsiteX1" fmla="*/ 75565 w 151130"/>
                <a:gd name="connsiteY1" fmla="*/ 151130 h 151129"/>
                <a:gd name="connsiteX2" fmla="*/ 0 w 151130"/>
                <a:gd name="connsiteY2" fmla="*/ 75565 h 151129"/>
                <a:gd name="connsiteX3" fmla="*/ 75565 w 151130"/>
                <a:gd name="connsiteY3" fmla="*/ 0 h 151129"/>
                <a:gd name="connsiteX4" fmla="*/ 151130 w 151130"/>
                <a:gd name="connsiteY4" fmla="*/ 75565 h 1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130" h="151129">
                  <a:moveTo>
                    <a:pt x="151130" y="75565"/>
                  </a:moveTo>
                  <a:cubicBezTo>
                    <a:pt x="151130" y="117298"/>
                    <a:pt x="117299" y="151130"/>
                    <a:pt x="75565" y="151130"/>
                  </a:cubicBezTo>
                  <a:cubicBezTo>
                    <a:pt x="33832" y="151130"/>
                    <a:pt x="0" y="117298"/>
                    <a:pt x="0" y="75565"/>
                  </a:cubicBezTo>
                  <a:cubicBezTo>
                    <a:pt x="0" y="33831"/>
                    <a:pt x="33831" y="0"/>
                    <a:pt x="75565" y="0"/>
                  </a:cubicBezTo>
                  <a:cubicBezTo>
                    <a:pt x="117298" y="0"/>
                    <a:pt x="151130" y="33831"/>
                    <a:pt x="151130" y="75565"/>
                  </a:cubicBezTo>
                  <a:close/>
                </a:path>
              </a:pathLst>
            </a:custGeom>
            <a:solidFill>
              <a:srgbClr val="EE0C3D"/>
            </a:solidFill>
            <a:ln w="6350" cap="flat">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B5BD1386-7F4A-470B-8DC8-91A43FD455C0}"/>
                </a:ext>
              </a:extLst>
            </p:cNvPr>
            <p:cNvSpPr/>
            <p:nvPr/>
          </p:nvSpPr>
          <p:spPr bwMode="ltGray">
            <a:xfrm>
              <a:off x="10404475" y="5467984"/>
              <a:ext cx="194309" cy="194310"/>
            </a:xfrm>
            <a:custGeom>
              <a:avLst/>
              <a:gdLst>
                <a:gd name="connsiteX0" fmla="*/ 97155 w 194309"/>
                <a:gd name="connsiteY0" fmla="*/ 194310 h 194310"/>
                <a:gd name="connsiteX1" fmla="*/ 194310 w 194309"/>
                <a:gd name="connsiteY1" fmla="*/ 97155 h 194310"/>
                <a:gd name="connsiteX2" fmla="*/ 97155 w 194309"/>
                <a:gd name="connsiteY2" fmla="*/ 0 h 194310"/>
                <a:gd name="connsiteX3" fmla="*/ 0 w 194309"/>
                <a:gd name="connsiteY3" fmla="*/ 97155 h 194310"/>
                <a:gd name="connsiteX4" fmla="*/ 97155 w 194309"/>
                <a:gd name="connsiteY4" fmla="*/ 194310 h 194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09" h="194310">
                  <a:moveTo>
                    <a:pt x="97155" y="194310"/>
                  </a:moveTo>
                  <a:cubicBezTo>
                    <a:pt x="151130" y="194310"/>
                    <a:pt x="194310" y="150495"/>
                    <a:pt x="194310" y="97155"/>
                  </a:cubicBezTo>
                  <a:cubicBezTo>
                    <a:pt x="194310" y="43180"/>
                    <a:pt x="150495" y="0"/>
                    <a:pt x="97155" y="0"/>
                  </a:cubicBezTo>
                  <a:cubicBezTo>
                    <a:pt x="43180" y="0"/>
                    <a:pt x="0" y="43815"/>
                    <a:pt x="0" y="97155"/>
                  </a:cubicBezTo>
                  <a:cubicBezTo>
                    <a:pt x="0" y="150495"/>
                    <a:pt x="43180" y="194310"/>
                    <a:pt x="97155" y="194310"/>
                  </a:cubicBezTo>
                  <a:close/>
                </a:path>
              </a:pathLst>
            </a:custGeom>
            <a:solidFill>
              <a:srgbClr val="EE0C3D"/>
            </a:solidFill>
            <a:ln w="6350" cap="flat">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0D187D4C-6B8B-4C7E-8634-3C7BE3A562AF}"/>
                </a:ext>
              </a:extLst>
            </p:cNvPr>
            <p:cNvSpPr/>
            <p:nvPr/>
          </p:nvSpPr>
          <p:spPr bwMode="ltGray">
            <a:xfrm>
              <a:off x="10020935" y="5449570"/>
              <a:ext cx="229869" cy="229870"/>
            </a:xfrm>
            <a:custGeom>
              <a:avLst/>
              <a:gdLst>
                <a:gd name="connsiteX0" fmla="*/ 229870 w 229869"/>
                <a:gd name="connsiteY0" fmla="*/ 114935 h 229870"/>
                <a:gd name="connsiteX1" fmla="*/ 114935 w 229869"/>
                <a:gd name="connsiteY1" fmla="*/ 229870 h 229870"/>
                <a:gd name="connsiteX2" fmla="*/ 1 w 229869"/>
                <a:gd name="connsiteY2" fmla="*/ 114935 h 229870"/>
                <a:gd name="connsiteX3" fmla="*/ 114935 w 229869"/>
                <a:gd name="connsiteY3" fmla="*/ 0 h 229870"/>
                <a:gd name="connsiteX4" fmla="*/ 229870 w 229869"/>
                <a:gd name="connsiteY4" fmla="*/ 114935 h 22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69" h="229870">
                  <a:moveTo>
                    <a:pt x="229870" y="114935"/>
                  </a:moveTo>
                  <a:cubicBezTo>
                    <a:pt x="229870" y="178412"/>
                    <a:pt x="178412" y="229870"/>
                    <a:pt x="114935" y="229870"/>
                  </a:cubicBezTo>
                  <a:cubicBezTo>
                    <a:pt x="51459" y="229870"/>
                    <a:pt x="1" y="178412"/>
                    <a:pt x="1" y="114935"/>
                  </a:cubicBezTo>
                  <a:cubicBezTo>
                    <a:pt x="1" y="51458"/>
                    <a:pt x="51459" y="0"/>
                    <a:pt x="114935" y="0"/>
                  </a:cubicBezTo>
                  <a:cubicBezTo>
                    <a:pt x="178412" y="0"/>
                    <a:pt x="229870" y="51458"/>
                    <a:pt x="229870" y="114935"/>
                  </a:cubicBezTo>
                  <a:close/>
                </a:path>
              </a:pathLst>
            </a:custGeom>
            <a:solidFill>
              <a:srgbClr val="EE0C3D"/>
            </a:solidFill>
            <a:ln w="6350" cap="flat">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97354302-7B5C-4F33-A1A4-3CF1C6F8068D}"/>
                </a:ext>
              </a:extLst>
            </p:cNvPr>
            <p:cNvSpPr/>
            <p:nvPr/>
          </p:nvSpPr>
          <p:spPr bwMode="ltGray">
            <a:xfrm>
              <a:off x="9645015" y="5439409"/>
              <a:ext cx="250190" cy="250190"/>
            </a:xfrm>
            <a:custGeom>
              <a:avLst/>
              <a:gdLst>
                <a:gd name="connsiteX0" fmla="*/ 125095 w 250190"/>
                <a:gd name="connsiteY0" fmla="*/ 250190 h 250190"/>
                <a:gd name="connsiteX1" fmla="*/ 250190 w 250190"/>
                <a:gd name="connsiteY1" fmla="*/ 125095 h 250190"/>
                <a:gd name="connsiteX2" fmla="*/ 125095 w 250190"/>
                <a:gd name="connsiteY2" fmla="*/ 0 h 250190"/>
                <a:gd name="connsiteX3" fmla="*/ 0 w 250190"/>
                <a:gd name="connsiteY3" fmla="*/ 125095 h 250190"/>
                <a:gd name="connsiteX4" fmla="*/ 125095 w 250190"/>
                <a:gd name="connsiteY4" fmla="*/ 250190 h 250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 h="250190">
                  <a:moveTo>
                    <a:pt x="125095" y="250190"/>
                  </a:moveTo>
                  <a:cubicBezTo>
                    <a:pt x="194310" y="250190"/>
                    <a:pt x="250190" y="194310"/>
                    <a:pt x="250190" y="125095"/>
                  </a:cubicBezTo>
                  <a:cubicBezTo>
                    <a:pt x="250190" y="55880"/>
                    <a:pt x="194310" y="0"/>
                    <a:pt x="125095" y="0"/>
                  </a:cubicBezTo>
                  <a:cubicBezTo>
                    <a:pt x="55880" y="0"/>
                    <a:pt x="0" y="55880"/>
                    <a:pt x="0" y="125095"/>
                  </a:cubicBezTo>
                  <a:cubicBezTo>
                    <a:pt x="0" y="194310"/>
                    <a:pt x="55880" y="250190"/>
                    <a:pt x="125095" y="250190"/>
                  </a:cubicBezTo>
                  <a:close/>
                </a:path>
              </a:pathLst>
            </a:custGeom>
            <a:solidFill>
              <a:srgbClr val="EE0C3D"/>
            </a:solidFill>
            <a:ln w="6350" cap="flat">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21A91951-965F-4570-B0BB-57499F7AEFCC}"/>
                </a:ext>
              </a:extLst>
            </p:cNvPr>
            <p:cNvSpPr/>
            <p:nvPr/>
          </p:nvSpPr>
          <p:spPr bwMode="ltGray">
            <a:xfrm>
              <a:off x="9273540" y="5434330"/>
              <a:ext cx="260350" cy="260350"/>
            </a:xfrm>
            <a:custGeom>
              <a:avLst/>
              <a:gdLst>
                <a:gd name="connsiteX0" fmla="*/ 260350 w 260350"/>
                <a:gd name="connsiteY0" fmla="*/ 130175 h 260350"/>
                <a:gd name="connsiteX1" fmla="*/ 130175 w 260350"/>
                <a:gd name="connsiteY1" fmla="*/ 260350 h 260350"/>
                <a:gd name="connsiteX2" fmla="*/ 0 w 260350"/>
                <a:gd name="connsiteY2" fmla="*/ 130175 h 260350"/>
                <a:gd name="connsiteX3" fmla="*/ 130175 w 260350"/>
                <a:gd name="connsiteY3" fmla="*/ 0 h 260350"/>
                <a:gd name="connsiteX4" fmla="*/ 260350 w 260350"/>
                <a:gd name="connsiteY4" fmla="*/ 130175 h 26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0" h="260350">
                  <a:moveTo>
                    <a:pt x="260350" y="130175"/>
                  </a:moveTo>
                  <a:cubicBezTo>
                    <a:pt x="260350" y="202069"/>
                    <a:pt x="202068" y="260350"/>
                    <a:pt x="130175" y="260350"/>
                  </a:cubicBezTo>
                  <a:cubicBezTo>
                    <a:pt x="58282" y="260350"/>
                    <a:pt x="0" y="202069"/>
                    <a:pt x="0" y="130175"/>
                  </a:cubicBezTo>
                  <a:cubicBezTo>
                    <a:pt x="0" y="58281"/>
                    <a:pt x="58282" y="0"/>
                    <a:pt x="130175" y="0"/>
                  </a:cubicBezTo>
                  <a:cubicBezTo>
                    <a:pt x="202068" y="0"/>
                    <a:pt x="260350" y="58281"/>
                    <a:pt x="260350" y="130175"/>
                  </a:cubicBezTo>
                  <a:close/>
                </a:path>
              </a:pathLst>
            </a:custGeom>
            <a:solidFill>
              <a:srgbClr val="EE0C3D"/>
            </a:solidFill>
            <a:ln w="6350" cap="flat">
              <a:no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2DE1054E-721D-410A-9063-B394A05D6737}"/>
                </a:ext>
              </a:extLst>
            </p:cNvPr>
            <p:cNvSpPr/>
            <p:nvPr/>
          </p:nvSpPr>
          <p:spPr bwMode="ltGray">
            <a:xfrm>
              <a:off x="8909684" y="5436234"/>
              <a:ext cx="256540" cy="256540"/>
            </a:xfrm>
            <a:custGeom>
              <a:avLst/>
              <a:gdLst>
                <a:gd name="connsiteX0" fmla="*/ 128270 w 256540"/>
                <a:gd name="connsiteY0" fmla="*/ 256540 h 256540"/>
                <a:gd name="connsiteX1" fmla="*/ 256540 w 256540"/>
                <a:gd name="connsiteY1" fmla="*/ 128270 h 256540"/>
                <a:gd name="connsiteX2" fmla="*/ 128270 w 256540"/>
                <a:gd name="connsiteY2" fmla="*/ 0 h 256540"/>
                <a:gd name="connsiteX3" fmla="*/ 0 w 256540"/>
                <a:gd name="connsiteY3" fmla="*/ 128270 h 256540"/>
                <a:gd name="connsiteX4" fmla="*/ 128270 w 256540"/>
                <a:gd name="connsiteY4" fmla="*/ 25654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128270" y="256540"/>
                  </a:moveTo>
                  <a:cubicBezTo>
                    <a:pt x="198755" y="256540"/>
                    <a:pt x="256540" y="199390"/>
                    <a:pt x="256540" y="128270"/>
                  </a:cubicBezTo>
                  <a:cubicBezTo>
                    <a:pt x="256540" y="57150"/>
                    <a:pt x="199390" y="0"/>
                    <a:pt x="128270" y="0"/>
                  </a:cubicBezTo>
                  <a:cubicBezTo>
                    <a:pt x="57150" y="0"/>
                    <a:pt x="0" y="57150"/>
                    <a:pt x="0" y="128270"/>
                  </a:cubicBezTo>
                  <a:cubicBezTo>
                    <a:pt x="0" y="199390"/>
                    <a:pt x="57785" y="256540"/>
                    <a:pt x="128270" y="256540"/>
                  </a:cubicBezTo>
                  <a:close/>
                </a:path>
              </a:pathLst>
            </a:custGeom>
            <a:solidFill>
              <a:srgbClr val="EE0C3D"/>
            </a:solidFill>
            <a:ln w="6350"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CE4A6E57-2C10-4B00-8BEB-1BB65F4B706F}"/>
                </a:ext>
              </a:extLst>
            </p:cNvPr>
            <p:cNvSpPr/>
            <p:nvPr/>
          </p:nvSpPr>
          <p:spPr bwMode="ltGray">
            <a:xfrm>
              <a:off x="8550909" y="5443220"/>
              <a:ext cx="242570" cy="242570"/>
            </a:xfrm>
            <a:custGeom>
              <a:avLst/>
              <a:gdLst>
                <a:gd name="connsiteX0" fmla="*/ 121285 w 242570"/>
                <a:gd name="connsiteY0" fmla="*/ 242570 h 242570"/>
                <a:gd name="connsiteX1" fmla="*/ 242570 w 242570"/>
                <a:gd name="connsiteY1" fmla="*/ 121285 h 242570"/>
                <a:gd name="connsiteX2" fmla="*/ 121285 w 242570"/>
                <a:gd name="connsiteY2" fmla="*/ 0 h 242570"/>
                <a:gd name="connsiteX3" fmla="*/ 0 w 242570"/>
                <a:gd name="connsiteY3" fmla="*/ 121285 h 242570"/>
                <a:gd name="connsiteX4" fmla="*/ 121285 w 242570"/>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70" h="242570">
                  <a:moveTo>
                    <a:pt x="121285" y="242570"/>
                  </a:moveTo>
                  <a:cubicBezTo>
                    <a:pt x="187960" y="242570"/>
                    <a:pt x="242570" y="188595"/>
                    <a:pt x="242570" y="121285"/>
                  </a:cubicBezTo>
                  <a:cubicBezTo>
                    <a:pt x="242570" y="53975"/>
                    <a:pt x="188595" y="0"/>
                    <a:pt x="121285" y="0"/>
                  </a:cubicBezTo>
                  <a:cubicBezTo>
                    <a:pt x="54610" y="0"/>
                    <a:pt x="0" y="53975"/>
                    <a:pt x="0" y="121285"/>
                  </a:cubicBezTo>
                  <a:cubicBezTo>
                    <a:pt x="0" y="188595"/>
                    <a:pt x="53975" y="242570"/>
                    <a:pt x="121285" y="242570"/>
                  </a:cubicBezTo>
                  <a:close/>
                </a:path>
              </a:pathLst>
            </a:custGeom>
            <a:solidFill>
              <a:srgbClr val="EE0C3D"/>
            </a:solidFill>
            <a:ln w="6350"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C8B4D255-A61A-4A6E-8F8D-302E06E83D20}"/>
                </a:ext>
              </a:extLst>
            </p:cNvPr>
            <p:cNvSpPr/>
            <p:nvPr/>
          </p:nvSpPr>
          <p:spPr bwMode="ltGray">
            <a:xfrm>
              <a:off x="8199119" y="5457190"/>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6" y="214630"/>
                    <a:pt x="0" y="166583"/>
                    <a:pt x="0" y="107315"/>
                  </a:cubicBezTo>
                  <a:cubicBezTo>
                    <a:pt x="0" y="48046"/>
                    <a:pt x="48046" y="0"/>
                    <a:pt x="107315" y="0"/>
                  </a:cubicBezTo>
                  <a:cubicBezTo>
                    <a:pt x="166583" y="0"/>
                    <a:pt x="214630" y="48046"/>
                    <a:pt x="214630" y="107315"/>
                  </a:cubicBezTo>
                  <a:close/>
                </a:path>
              </a:pathLst>
            </a:custGeom>
            <a:solidFill>
              <a:srgbClr val="EE0C3D"/>
            </a:solidFill>
            <a:ln w="6350" cap="flat">
              <a:noFill/>
              <a:prstDash val="solid"/>
              <a:miter/>
            </a:ln>
          </p:spPr>
          <p:txBody>
            <a:bodyPr rtlCol="0" anchor="ctr"/>
            <a:lstStyle/>
            <a:p>
              <a:endParaRPr lang="en-GB"/>
            </a:p>
          </p:txBody>
        </p:sp>
        <p:sp>
          <p:nvSpPr>
            <p:cNvPr id="153" name="Freeform: Shape 152">
              <a:extLst>
                <a:ext uri="{FF2B5EF4-FFF2-40B4-BE49-F238E27FC236}">
                  <a16:creationId xmlns:a16="http://schemas.microsoft.com/office/drawing/2014/main" id="{5A75A72D-0BFF-419D-8C7A-9DCA50EA1CB1}"/>
                </a:ext>
              </a:extLst>
            </p:cNvPr>
            <p:cNvSpPr/>
            <p:nvPr/>
          </p:nvSpPr>
          <p:spPr bwMode="ltGray">
            <a:xfrm>
              <a:off x="7854315" y="547878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1" y="171450"/>
                    <a:pt x="0" y="133070"/>
                    <a:pt x="0" y="85725"/>
                  </a:cubicBezTo>
                  <a:cubicBezTo>
                    <a:pt x="0" y="38380"/>
                    <a:pt x="38381" y="0"/>
                    <a:pt x="85725" y="0"/>
                  </a:cubicBezTo>
                  <a:cubicBezTo>
                    <a:pt x="133070" y="0"/>
                    <a:pt x="171450" y="38380"/>
                    <a:pt x="171450" y="85725"/>
                  </a:cubicBezTo>
                  <a:close/>
                </a:path>
              </a:pathLst>
            </a:custGeom>
            <a:solidFill>
              <a:srgbClr val="EE0C3D"/>
            </a:solidFill>
            <a:ln w="6350" cap="flat">
              <a:noFill/>
              <a:prstDash val="solid"/>
              <a:miter/>
            </a:ln>
          </p:spPr>
          <p:txBody>
            <a:bodyPr rtlCol="0" anchor="ctr"/>
            <a:lstStyle/>
            <a:p>
              <a:endParaRPr lang="en-GB"/>
            </a:p>
          </p:txBody>
        </p:sp>
        <p:sp>
          <p:nvSpPr>
            <p:cNvPr id="154" name="Freeform: Shape 153">
              <a:extLst>
                <a:ext uri="{FF2B5EF4-FFF2-40B4-BE49-F238E27FC236}">
                  <a16:creationId xmlns:a16="http://schemas.microsoft.com/office/drawing/2014/main" id="{76ED6024-2FA3-45D4-9EED-2172574AA897}"/>
                </a:ext>
              </a:extLst>
            </p:cNvPr>
            <p:cNvSpPr/>
            <p:nvPr/>
          </p:nvSpPr>
          <p:spPr bwMode="ltGray">
            <a:xfrm>
              <a:off x="7512050" y="550227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55" name="Freeform: Shape 154">
              <a:extLst>
                <a:ext uri="{FF2B5EF4-FFF2-40B4-BE49-F238E27FC236}">
                  <a16:creationId xmlns:a16="http://schemas.microsoft.com/office/drawing/2014/main" id="{C84B5571-C256-47BA-A347-7883058358A2}"/>
                </a:ext>
              </a:extLst>
            </p:cNvPr>
            <p:cNvSpPr/>
            <p:nvPr/>
          </p:nvSpPr>
          <p:spPr bwMode="ltGray">
            <a:xfrm>
              <a:off x="7169784" y="5526404"/>
              <a:ext cx="77470" cy="77470"/>
            </a:xfrm>
            <a:custGeom>
              <a:avLst/>
              <a:gdLst>
                <a:gd name="connsiteX0" fmla="*/ 38735 w 77470"/>
                <a:gd name="connsiteY0" fmla="*/ 77470 h 77470"/>
                <a:gd name="connsiteX1" fmla="*/ 77470 w 77470"/>
                <a:gd name="connsiteY1" fmla="*/ 38735 h 77470"/>
                <a:gd name="connsiteX2" fmla="*/ 38735 w 77470"/>
                <a:gd name="connsiteY2" fmla="*/ 0 h 77470"/>
                <a:gd name="connsiteX3" fmla="*/ 0 w 77470"/>
                <a:gd name="connsiteY3" fmla="*/ 38735 h 77470"/>
                <a:gd name="connsiteX4" fmla="*/ 38735 w 77470"/>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0"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EE0C3D"/>
            </a:solidFill>
            <a:ln w="6350" cap="flat">
              <a:no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5210692E-5F4A-4AEB-88DD-6BE4623203A7}"/>
                </a:ext>
              </a:extLst>
            </p:cNvPr>
            <p:cNvSpPr/>
            <p:nvPr/>
          </p:nvSpPr>
          <p:spPr bwMode="ltGray">
            <a:xfrm>
              <a:off x="6822440" y="5544184"/>
              <a:ext cx="40640" cy="40640"/>
            </a:xfrm>
            <a:custGeom>
              <a:avLst/>
              <a:gdLst>
                <a:gd name="connsiteX0" fmla="*/ 20320 w 40640"/>
                <a:gd name="connsiteY0" fmla="*/ 40640 h 40640"/>
                <a:gd name="connsiteX1" fmla="*/ 40640 w 40640"/>
                <a:gd name="connsiteY1" fmla="*/ 20320 h 40640"/>
                <a:gd name="connsiteX2" fmla="*/ 20320 w 40640"/>
                <a:gd name="connsiteY2" fmla="*/ 0 h 40640"/>
                <a:gd name="connsiteX3" fmla="*/ 0 w 40640"/>
                <a:gd name="connsiteY3" fmla="*/ 20320 h 40640"/>
                <a:gd name="connsiteX4" fmla="*/ 20320 w 40640"/>
                <a:gd name="connsiteY4" fmla="*/ 4064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 h="40640">
                  <a:moveTo>
                    <a:pt x="20320" y="40640"/>
                  </a:moveTo>
                  <a:cubicBezTo>
                    <a:pt x="31115" y="40640"/>
                    <a:pt x="40640" y="31750"/>
                    <a:pt x="40640" y="20320"/>
                  </a:cubicBezTo>
                  <a:cubicBezTo>
                    <a:pt x="40640" y="9525"/>
                    <a:pt x="31750" y="0"/>
                    <a:pt x="20320" y="0"/>
                  </a:cubicBezTo>
                  <a:cubicBezTo>
                    <a:pt x="8890" y="0"/>
                    <a:pt x="0" y="8890"/>
                    <a:pt x="0" y="20320"/>
                  </a:cubicBezTo>
                  <a:cubicBezTo>
                    <a:pt x="0" y="31750"/>
                    <a:pt x="8890" y="40640"/>
                    <a:pt x="20320" y="40640"/>
                  </a:cubicBezTo>
                  <a:close/>
                </a:path>
              </a:pathLst>
            </a:custGeom>
            <a:solidFill>
              <a:srgbClr val="EE0C3D"/>
            </a:solidFill>
            <a:ln w="6350" cap="flat">
              <a:noFill/>
              <a:prstDash val="solid"/>
              <a:miter/>
            </a:ln>
          </p:spPr>
          <p:txBody>
            <a:bodyPr rtlCol="0" anchor="ctr"/>
            <a:lstStyle/>
            <a:p>
              <a:endParaRPr lang="en-GB"/>
            </a:p>
          </p:txBody>
        </p:sp>
        <p:sp>
          <p:nvSpPr>
            <p:cNvPr id="157" name="Freeform: Shape 156">
              <a:extLst>
                <a:ext uri="{FF2B5EF4-FFF2-40B4-BE49-F238E27FC236}">
                  <a16:creationId xmlns:a16="http://schemas.microsoft.com/office/drawing/2014/main" id="{6DF4E676-FA94-498C-B55F-7687E7F77D5D}"/>
                </a:ext>
              </a:extLst>
            </p:cNvPr>
            <p:cNvSpPr/>
            <p:nvPr/>
          </p:nvSpPr>
          <p:spPr bwMode="ltGray">
            <a:xfrm>
              <a:off x="11581130" y="5180965"/>
              <a:ext cx="35559" cy="35559"/>
            </a:xfrm>
            <a:custGeom>
              <a:avLst/>
              <a:gdLst>
                <a:gd name="connsiteX0" fmla="*/ 35560 w 35559"/>
                <a:gd name="connsiteY0" fmla="*/ 17780 h 35559"/>
                <a:gd name="connsiteX1" fmla="*/ 17780 w 35559"/>
                <a:gd name="connsiteY1" fmla="*/ 0 h 35559"/>
                <a:gd name="connsiteX2" fmla="*/ 0 w 35559"/>
                <a:gd name="connsiteY2" fmla="*/ 17780 h 35559"/>
                <a:gd name="connsiteX3" fmla="*/ 17780 w 35559"/>
                <a:gd name="connsiteY3" fmla="*/ 35560 h 35559"/>
                <a:gd name="connsiteX4" fmla="*/ 35560 w 35559"/>
                <a:gd name="connsiteY4" fmla="*/ 17780 h 35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59">
                  <a:moveTo>
                    <a:pt x="35560" y="17780"/>
                  </a:moveTo>
                  <a:cubicBezTo>
                    <a:pt x="35560" y="8255"/>
                    <a:pt x="27939" y="0"/>
                    <a:pt x="17780" y="0"/>
                  </a:cubicBezTo>
                  <a:cubicBezTo>
                    <a:pt x="7620" y="0"/>
                    <a:pt x="0" y="7620"/>
                    <a:pt x="0" y="17780"/>
                  </a:cubicBezTo>
                  <a:cubicBezTo>
                    <a:pt x="0" y="27305"/>
                    <a:pt x="7620" y="35560"/>
                    <a:pt x="17780" y="35560"/>
                  </a:cubicBezTo>
                  <a:cubicBezTo>
                    <a:pt x="27939" y="35560"/>
                    <a:pt x="35560" y="27940"/>
                    <a:pt x="35560" y="17780"/>
                  </a:cubicBezTo>
                  <a:close/>
                </a:path>
              </a:pathLst>
            </a:custGeom>
            <a:solidFill>
              <a:srgbClr val="EE0C3D"/>
            </a:solidFill>
            <a:ln w="6350" cap="flat">
              <a:noFill/>
              <a:prstDash val="solid"/>
              <a:miter/>
            </a:ln>
          </p:spPr>
          <p:txBody>
            <a:bodyPr rtlCol="0" anchor="ctr"/>
            <a:lstStyle/>
            <a:p>
              <a:endParaRPr lang="en-GB"/>
            </a:p>
          </p:txBody>
        </p:sp>
        <p:sp>
          <p:nvSpPr>
            <p:cNvPr id="158" name="Freeform: Shape 157">
              <a:extLst>
                <a:ext uri="{FF2B5EF4-FFF2-40B4-BE49-F238E27FC236}">
                  <a16:creationId xmlns:a16="http://schemas.microsoft.com/office/drawing/2014/main" id="{FE98450F-3BE5-4A61-A2CC-C23ED9712160}"/>
                </a:ext>
              </a:extLst>
            </p:cNvPr>
            <p:cNvSpPr/>
            <p:nvPr/>
          </p:nvSpPr>
          <p:spPr bwMode="ltGray">
            <a:xfrm>
              <a:off x="11200765" y="5166359"/>
              <a:ext cx="64769" cy="64770"/>
            </a:xfrm>
            <a:custGeom>
              <a:avLst/>
              <a:gdLst>
                <a:gd name="connsiteX0" fmla="*/ 0 w 64769"/>
                <a:gd name="connsiteY0" fmla="*/ 32385 h 64770"/>
                <a:gd name="connsiteX1" fmla="*/ 32385 w 64769"/>
                <a:gd name="connsiteY1" fmla="*/ 64770 h 64770"/>
                <a:gd name="connsiteX2" fmla="*/ 64770 w 64769"/>
                <a:gd name="connsiteY2" fmla="*/ 32385 h 64770"/>
                <a:gd name="connsiteX3" fmla="*/ 32385 w 64769"/>
                <a:gd name="connsiteY3" fmla="*/ 0 h 64770"/>
                <a:gd name="connsiteX4" fmla="*/ 0 w 64769"/>
                <a:gd name="connsiteY4" fmla="*/ 32385 h 64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4770">
                  <a:moveTo>
                    <a:pt x="0" y="32385"/>
                  </a:moveTo>
                  <a:cubicBezTo>
                    <a:pt x="0" y="50165"/>
                    <a:pt x="14605" y="64770"/>
                    <a:pt x="32385" y="64770"/>
                  </a:cubicBezTo>
                  <a:cubicBezTo>
                    <a:pt x="50165" y="64770"/>
                    <a:pt x="64770" y="50165"/>
                    <a:pt x="64770" y="32385"/>
                  </a:cubicBezTo>
                  <a:cubicBezTo>
                    <a:pt x="64770" y="14605"/>
                    <a:pt x="50165" y="0"/>
                    <a:pt x="32385" y="0"/>
                  </a:cubicBezTo>
                  <a:cubicBezTo>
                    <a:pt x="14605" y="0"/>
                    <a:pt x="0" y="14605"/>
                    <a:pt x="0" y="32385"/>
                  </a:cubicBezTo>
                  <a:close/>
                </a:path>
              </a:pathLst>
            </a:custGeom>
            <a:solidFill>
              <a:srgbClr val="EE0C3D"/>
            </a:solidFill>
            <a:ln w="6350" cap="flat">
              <a:noFill/>
              <a:prstDash val="solid"/>
              <a:miter/>
            </a:ln>
          </p:spPr>
          <p:txBody>
            <a:bodyPr rtlCol="0" anchor="ctr"/>
            <a:lstStyle/>
            <a:p>
              <a:endParaRPr lang="en-GB"/>
            </a:p>
          </p:txBody>
        </p:sp>
        <p:sp>
          <p:nvSpPr>
            <p:cNvPr id="159" name="Freeform: Shape 158">
              <a:extLst>
                <a:ext uri="{FF2B5EF4-FFF2-40B4-BE49-F238E27FC236}">
                  <a16:creationId xmlns:a16="http://schemas.microsoft.com/office/drawing/2014/main" id="{BFECEE85-3775-4695-B7FB-8D57FAEAEB58}"/>
                </a:ext>
              </a:extLst>
            </p:cNvPr>
            <p:cNvSpPr/>
            <p:nvPr/>
          </p:nvSpPr>
          <p:spPr bwMode="ltGray">
            <a:xfrm>
              <a:off x="10815955" y="5147309"/>
              <a:ext cx="102869" cy="102870"/>
            </a:xfrm>
            <a:custGeom>
              <a:avLst/>
              <a:gdLst>
                <a:gd name="connsiteX0" fmla="*/ 0 w 102869"/>
                <a:gd name="connsiteY0" fmla="*/ 51435 h 102870"/>
                <a:gd name="connsiteX1" fmla="*/ 51435 w 102869"/>
                <a:gd name="connsiteY1" fmla="*/ 102870 h 102870"/>
                <a:gd name="connsiteX2" fmla="*/ 102870 w 102869"/>
                <a:gd name="connsiteY2" fmla="*/ 51435 h 102870"/>
                <a:gd name="connsiteX3" fmla="*/ 51435 w 102869"/>
                <a:gd name="connsiteY3" fmla="*/ 0 h 102870"/>
                <a:gd name="connsiteX4" fmla="*/ 0 w 102869"/>
                <a:gd name="connsiteY4" fmla="*/ 51435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69" h="102870">
                  <a:moveTo>
                    <a:pt x="0" y="51435"/>
                  </a:moveTo>
                  <a:cubicBezTo>
                    <a:pt x="0" y="80010"/>
                    <a:pt x="22860" y="102870"/>
                    <a:pt x="51435" y="102870"/>
                  </a:cubicBezTo>
                  <a:cubicBezTo>
                    <a:pt x="80010" y="102870"/>
                    <a:pt x="102870" y="80010"/>
                    <a:pt x="102870" y="51435"/>
                  </a:cubicBezTo>
                  <a:cubicBezTo>
                    <a:pt x="102870" y="22860"/>
                    <a:pt x="80010" y="0"/>
                    <a:pt x="51435" y="0"/>
                  </a:cubicBezTo>
                  <a:cubicBezTo>
                    <a:pt x="22860" y="0"/>
                    <a:pt x="0" y="22860"/>
                    <a:pt x="0" y="51435"/>
                  </a:cubicBezTo>
                  <a:close/>
                </a:path>
              </a:pathLst>
            </a:custGeom>
            <a:solidFill>
              <a:srgbClr val="EE0C3D"/>
            </a:solidFill>
            <a:ln w="6350" cap="flat">
              <a:noFill/>
              <a:prstDash val="solid"/>
              <a:miter/>
            </a:ln>
          </p:spPr>
          <p:txBody>
            <a:bodyPr rtlCol="0" anchor="ctr"/>
            <a:lstStyle/>
            <a:p>
              <a:endParaRPr lang="en-GB"/>
            </a:p>
          </p:txBody>
        </p:sp>
        <p:sp>
          <p:nvSpPr>
            <p:cNvPr id="160" name="Freeform: Shape 159">
              <a:extLst>
                <a:ext uri="{FF2B5EF4-FFF2-40B4-BE49-F238E27FC236}">
                  <a16:creationId xmlns:a16="http://schemas.microsoft.com/office/drawing/2014/main" id="{CEED21DC-4DA5-4B3D-9E57-9DCD2253EC02}"/>
                </a:ext>
              </a:extLst>
            </p:cNvPr>
            <p:cNvSpPr/>
            <p:nvPr/>
          </p:nvSpPr>
          <p:spPr bwMode="ltGray">
            <a:xfrm>
              <a:off x="10430509" y="5127625"/>
              <a:ext cx="142240" cy="142240"/>
            </a:xfrm>
            <a:custGeom>
              <a:avLst/>
              <a:gdLst>
                <a:gd name="connsiteX0" fmla="*/ 71120 w 142240"/>
                <a:gd name="connsiteY0" fmla="*/ 142240 h 142240"/>
                <a:gd name="connsiteX1" fmla="*/ 142240 w 142240"/>
                <a:gd name="connsiteY1" fmla="*/ 71120 h 142240"/>
                <a:gd name="connsiteX2" fmla="*/ 71120 w 142240"/>
                <a:gd name="connsiteY2" fmla="*/ 0 h 142240"/>
                <a:gd name="connsiteX3" fmla="*/ 0 w 142240"/>
                <a:gd name="connsiteY3" fmla="*/ 71120 h 142240"/>
                <a:gd name="connsiteX4" fmla="*/ 71120 w 142240"/>
                <a:gd name="connsiteY4" fmla="*/ 142240 h 14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40" h="142240">
                  <a:moveTo>
                    <a:pt x="71120" y="142240"/>
                  </a:moveTo>
                  <a:cubicBezTo>
                    <a:pt x="110490" y="142240"/>
                    <a:pt x="142240" y="110490"/>
                    <a:pt x="142240" y="71120"/>
                  </a:cubicBezTo>
                  <a:cubicBezTo>
                    <a:pt x="142240" y="31750"/>
                    <a:pt x="110490" y="0"/>
                    <a:pt x="71120" y="0"/>
                  </a:cubicBezTo>
                  <a:cubicBezTo>
                    <a:pt x="31750" y="0"/>
                    <a:pt x="0" y="31750"/>
                    <a:pt x="0" y="71120"/>
                  </a:cubicBezTo>
                  <a:cubicBezTo>
                    <a:pt x="0" y="110490"/>
                    <a:pt x="31750" y="142240"/>
                    <a:pt x="71120" y="142240"/>
                  </a:cubicBezTo>
                  <a:close/>
                </a:path>
              </a:pathLst>
            </a:custGeom>
            <a:solidFill>
              <a:srgbClr val="EE0C3D"/>
            </a:solidFill>
            <a:ln w="6350" cap="flat">
              <a:noFill/>
              <a:prstDash val="solid"/>
              <a:miter/>
            </a:ln>
          </p:spPr>
          <p:txBody>
            <a:bodyPr rtlCol="0" anchor="ctr"/>
            <a:lstStyle/>
            <a:p>
              <a:endParaRPr lang="en-GB"/>
            </a:p>
          </p:txBody>
        </p:sp>
        <p:sp>
          <p:nvSpPr>
            <p:cNvPr id="161" name="Freeform: Shape 160">
              <a:extLst>
                <a:ext uri="{FF2B5EF4-FFF2-40B4-BE49-F238E27FC236}">
                  <a16:creationId xmlns:a16="http://schemas.microsoft.com/office/drawing/2014/main" id="{F52EF416-4A9F-4340-80CD-7B25882F93FB}"/>
                </a:ext>
              </a:extLst>
            </p:cNvPr>
            <p:cNvSpPr/>
            <p:nvPr/>
          </p:nvSpPr>
          <p:spPr bwMode="ltGray">
            <a:xfrm>
              <a:off x="10048875" y="5112384"/>
              <a:ext cx="173990" cy="173990"/>
            </a:xfrm>
            <a:custGeom>
              <a:avLst/>
              <a:gdLst>
                <a:gd name="connsiteX0" fmla="*/ 86995 w 173990"/>
                <a:gd name="connsiteY0" fmla="*/ 173990 h 173990"/>
                <a:gd name="connsiteX1" fmla="*/ 173990 w 173990"/>
                <a:gd name="connsiteY1" fmla="*/ 86995 h 173990"/>
                <a:gd name="connsiteX2" fmla="*/ 86995 w 173990"/>
                <a:gd name="connsiteY2" fmla="*/ 0 h 173990"/>
                <a:gd name="connsiteX3" fmla="*/ 0 w 173990"/>
                <a:gd name="connsiteY3" fmla="*/ 86995 h 173990"/>
                <a:gd name="connsiteX4" fmla="*/ 86995 w 173990"/>
                <a:gd name="connsiteY4" fmla="*/ 173990 h 173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90" h="173990">
                  <a:moveTo>
                    <a:pt x="86995" y="173990"/>
                  </a:moveTo>
                  <a:cubicBezTo>
                    <a:pt x="135255" y="173990"/>
                    <a:pt x="173990" y="134620"/>
                    <a:pt x="173990" y="86995"/>
                  </a:cubicBezTo>
                  <a:cubicBezTo>
                    <a:pt x="173990" y="39370"/>
                    <a:pt x="134620" y="0"/>
                    <a:pt x="86995" y="0"/>
                  </a:cubicBezTo>
                  <a:cubicBezTo>
                    <a:pt x="38735" y="0"/>
                    <a:pt x="0" y="39370"/>
                    <a:pt x="0" y="86995"/>
                  </a:cubicBezTo>
                  <a:cubicBezTo>
                    <a:pt x="0" y="134620"/>
                    <a:pt x="38735" y="173990"/>
                    <a:pt x="86995" y="173990"/>
                  </a:cubicBezTo>
                  <a:close/>
                </a:path>
              </a:pathLst>
            </a:custGeom>
            <a:solidFill>
              <a:srgbClr val="EE0C3D"/>
            </a:solidFill>
            <a:ln w="6350" cap="flat">
              <a:noFill/>
              <a:prstDash val="solid"/>
              <a:miter/>
            </a:ln>
          </p:spPr>
          <p:txBody>
            <a:bodyPr rtlCol="0" anchor="ctr"/>
            <a:lstStyle/>
            <a:p>
              <a:endParaRPr lang="en-GB"/>
            </a:p>
          </p:txBody>
        </p:sp>
        <p:sp>
          <p:nvSpPr>
            <p:cNvPr id="162" name="Freeform: Shape 161">
              <a:extLst>
                <a:ext uri="{FF2B5EF4-FFF2-40B4-BE49-F238E27FC236}">
                  <a16:creationId xmlns:a16="http://schemas.microsoft.com/office/drawing/2014/main" id="{BF17DDAB-124C-451F-910E-B4FEC4A58C0D}"/>
                </a:ext>
              </a:extLst>
            </p:cNvPr>
            <p:cNvSpPr/>
            <p:nvPr/>
          </p:nvSpPr>
          <p:spPr bwMode="ltGray">
            <a:xfrm>
              <a:off x="9671684" y="5100954"/>
              <a:ext cx="195580" cy="195579"/>
            </a:xfrm>
            <a:custGeom>
              <a:avLst/>
              <a:gdLst>
                <a:gd name="connsiteX0" fmla="*/ 0 w 195580"/>
                <a:gd name="connsiteY0" fmla="*/ 97790 h 195579"/>
                <a:gd name="connsiteX1" fmla="*/ 97790 w 195580"/>
                <a:gd name="connsiteY1" fmla="*/ 195580 h 195579"/>
                <a:gd name="connsiteX2" fmla="*/ 195580 w 195580"/>
                <a:gd name="connsiteY2" fmla="*/ 97790 h 195579"/>
                <a:gd name="connsiteX3" fmla="*/ 97790 w 195580"/>
                <a:gd name="connsiteY3" fmla="*/ 0 h 195579"/>
                <a:gd name="connsiteX4" fmla="*/ 0 w 195580"/>
                <a:gd name="connsiteY4" fmla="*/ 97790 h 195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 h="195579">
                  <a:moveTo>
                    <a:pt x="0" y="97790"/>
                  </a:moveTo>
                  <a:cubicBezTo>
                    <a:pt x="0" y="151765"/>
                    <a:pt x="43815" y="195580"/>
                    <a:pt x="97790" y="195580"/>
                  </a:cubicBezTo>
                  <a:cubicBezTo>
                    <a:pt x="151765" y="195580"/>
                    <a:pt x="195580" y="151765"/>
                    <a:pt x="195580" y="97790"/>
                  </a:cubicBezTo>
                  <a:cubicBezTo>
                    <a:pt x="195580" y="43815"/>
                    <a:pt x="151765" y="0"/>
                    <a:pt x="97790" y="0"/>
                  </a:cubicBezTo>
                  <a:cubicBezTo>
                    <a:pt x="43815" y="0"/>
                    <a:pt x="0" y="43815"/>
                    <a:pt x="0" y="97790"/>
                  </a:cubicBezTo>
                  <a:close/>
                </a:path>
              </a:pathLst>
            </a:custGeom>
            <a:solidFill>
              <a:srgbClr val="EE0C3D"/>
            </a:solidFill>
            <a:ln w="6350" cap="flat">
              <a:noFill/>
              <a:prstDash val="solid"/>
              <a:miter/>
            </a:ln>
          </p:spPr>
          <p:txBody>
            <a:bodyPr rtlCol="0" anchor="ctr"/>
            <a:lstStyle/>
            <a:p>
              <a:endParaRPr lang="en-GB"/>
            </a:p>
          </p:txBody>
        </p:sp>
        <p:sp>
          <p:nvSpPr>
            <p:cNvPr id="163" name="Freeform: Shape 162">
              <a:extLst>
                <a:ext uri="{FF2B5EF4-FFF2-40B4-BE49-F238E27FC236}">
                  <a16:creationId xmlns:a16="http://schemas.microsoft.com/office/drawing/2014/main" id="{F4040FF1-C833-4FE2-B91F-7BC2371E976A}"/>
                </a:ext>
              </a:extLst>
            </p:cNvPr>
            <p:cNvSpPr/>
            <p:nvPr/>
          </p:nvSpPr>
          <p:spPr bwMode="ltGray">
            <a:xfrm>
              <a:off x="9301480" y="5096510"/>
              <a:ext cx="204469" cy="204470"/>
            </a:xfrm>
            <a:custGeom>
              <a:avLst/>
              <a:gdLst>
                <a:gd name="connsiteX0" fmla="*/ 204470 w 204469"/>
                <a:gd name="connsiteY0" fmla="*/ 102235 h 204470"/>
                <a:gd name="connsiteX1" fmla="*/ 102235 w 204469"/>
                <a:gd name="connsiteY1" fmla="*/ 204470 h 204470"/>
                <a:gd name="connsiteX2" fmla="*/ 0 w 204469"/>
                <a:gd name="connsiteY2" fmla="*/ 102235 h 204470"/>
                <a:gd name="connsiteX3" fmla="*/ 102235 w 204469"/>
                <a:gd name="connsiteY3" fmla="*/ 0 h 204470"/>
                <a:gd name="connsiteX4" fmla="*/ 204470 w 204469"/>
                <a:gd name="connsiteY4" fmla="*/ 102235 h 20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469" h="204470">
                  <a:moveTo>
                    <a:pt x="204470" y="102235"/>
                  </a:moveTo>
                  <a:cubicBezTo>
                    <a:pt x="204470" y="158698"/>
                    <a:pt x="158698" y="204470"/>
                    <a:pt x="102235" y="204470"/>
                  </a:cubicBezTo>
                  <a:cubicBezTo>
                    <a:pt x="45773" y="204470"/>
                    <a:pt x="0" y="158698"/>
                    <a:pt x="0" y="102235"/>
                  </a:cubicBezTo>
                  <a:cubicBezTo>
                    <a:pt x="0" y="45772"/>
                    <a:pt x="45773" y="0"/>
                    <a:pt x="102235" y="0"/>
                  </a:cubicBezTo>
                  <a:cubicBezTo>
                    <a:pt x="158698" y="0"/>
                    <a:pt x="204470" y="45772"/>
                    <a:pt x="204470" y="102235"/>
                  </a:cubicBezTo>
                  <a:close/>
                </a:path>
              </a:pathLst>
            </a:custGeom>
            <a:solidFill>
              <a:srgbClr val="EE0C3D"/>
            </a:solidFill>
            <a:ln w="6350" cap="flat">
              <a:noFill/>
              <a:prstDash val="solid"/>
              <a:miter/>
            </a:ln>
          </p:spPr>
          <p:txBody>
            <a:bodyPr rtlCol="0" anchor="ctr"/>
            <a:lstStyle/>
            <a:p>
              <a:endParaRPr lang="en-GB"/>
            </a:p>
          </p:txBody>
        </p:sp>
        <p:sp>
          <p:nvSpPr>
            <p:cNvPr id="164" name="Freeform: Shape 163">
              <a:extLst>
                <a:ext uri="{FF2B5EF4-FFF2-40B4-BE49-F238E27FC236}">
                  <a16:creationId xmlns:a16="http://schemas.microsoft.com/office/drawing/2014/main" id="{BF1A8F3D-F1F6-4F9B-B400-D68FCA106F96}"/>
                </a:ext>
              </a:extLst>
            </p:cNvPr>
            <p:cNvSpPr/>
            <p:nvPr/>
          </p:nvSpPr>
          <p:spPr bwMode="ltGray">
            <a:xfrm>
              <a:off x="8936990" y="5097779"/>
              <a:ext cx="201929" cy="201929"/>
            </a:xfrm>
            <a:custGeom>
              <a:avLst/>
              <a:gdLst>
                <a:gd name="connsiteX0" fmla="*/ 100965 w 201929"/>
                <a:gd name="connsiteY0" fmla="*/ 201930 h 201929"/>
                <a:gd name="connsiteX1" fmla="*/ 201930 w 201929"/>
                <a:gd name="connsiteY1" fmla="*/ 100965 h 201929"/>
                <a:gd name="connsiteX2" fmla="*/ 100965 w 201929"/>
                <a:gd name="connsiteY2" fmla="*/ 0 h 201929"/>
                <a:gd name="connsiteX3" fmla="*/ 0 w 201929"/>
                <a:gd name="connsiteY3" fmla="*/ 100965 h 201929"/>
                <a:gd name="connsiteX4" fmla="*/ 100965 w 201929"/>
                <a:gd name="connsiteY4" fmla="*/ 201930 h 201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9" h="201929">
                  <a:moveTo>
                    <a:pt x="100965" y="201930"/>
                  </a:moveTo>
                  <a:cubicBezTo>
                    <a:pt x="156845" y="201930"/>
                    <a:pt x="201930" y="156845"/>
                    <a:pt x="201930" y="100965"/>
                  </a:cubicBezTo>
                  <a:cubicBezTo>
                    <a:pt x="201930" y="45085"/>
                    <a:pt x="156845" y="0"/>
                    <a:pt x="100965" y="0"/>
                  </a:cubicBezTo>
                  <a:cubicBezTo>
                    <a:pt x="45085" y="0"/>
                    <a:pt x="0" y="45085"/>
                    <a:pt x="0" y="100965"/>
                  </a:cubicBezTo>
                  <a:cubicBezTo>
                    <a:pt x="0" y="156845"/>
                    <a:pt x="45085" y="201930"/>
                    <a:pt x="100965" y="201930"/>
                  </a:cubicBezTo>
                  <a:close/>
                </a:path>
              </a:pathLst>
            </a:custGeom>
            <a:solidFill>
              <a:srgbClr val="EE0C3D"/>
            </a:solidFill>
            <a:ln w="6350" cap="flat">
              <a:noFill/>
              <a:prstDash val="solid"/>
              <a:miter/>
            </a:ln>
          </p:spPr>
          <p:txBody>
            <a:bodyPr rtlCol="0" anchor="ctr"/>
            <a:lstStyle/>
            <a:p>
              <a:endParaRPr lang="en-GB"/>
            </a:p>
          </p:txBody>
        </p:sp>
        <p:sp>
          <p:nvSpPr>
            <p:cNvPr id="165" name="Freeform: Shape 164">
              <a:extLst>
                <a:ext uri="{FF2B5EF4-FFF2-40B4-BE49-F238E27FC236}">
                  <a16:creationId xmlns:a16="http://schemas.microsoft.com/office/drawing/2014/main" id="{FC2CBAD7-6C60-40B5-A2C9-B1EE6AC78D33}"/>
                </a:ext>
              </a:extLst>
            </p:cNvPr>
            <p:cNvSpPr/>
            <p:nvPr/>
          </p:nvSpPr>
          <p:spPr bwMode="ltGray">
            <a:xfrm>
              <a:off x="8578850" y="5106034"/>
              <a:ext cx="186690" cy="186690"/>
            </a:xfrm>
            <a:custGeom>
              <a:avLst/>
              <a:gdLst>
                <a:gd name="connsiteX0" fmla="*/ 93345 w 186690"/>
                <a:gd name="connsiteY0" fmla="*/ 186690 h 186690"/>
                <a:gd name="connsiteX1" fmla="*/ 186690 w 186690"/>
                <a:gd name="connsiteY1" fmla="*/ 93345 h 186690"/>
                <a:gd name="connsiteX2" fmla="*/ 93345 w 186690"/>
                <a:gd name="connsiteY2" fmla="*/ 0 h 186690"/>
                <a:gd name="connsiteX3" fmla="*/ 0 w 186690"/>
                <a:gd name="connsiteY3" fmla="*/ 93345 h 186690"/>
                <a:gd name="connsiteX4" fmla="*/ 93345 w 186690"/>
                <a:gd name="connsiteY4" fmla="*/ 18669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186690"/>
                  </a:moveTo>
                  <a:cubicBezTo>
                    <a:pt x="144780" y="186690"/>
                    <a:pt x="186690" y="144780"/>
                    <a:pt x="186690" y="93345"/>
                  </a:cubicBezTo>
                  <a:cubicBezTo>
                    <a:pt x="186690" y="41910"/>
                    <a:pt x="144780" y="0"/>
                    <a:pt x="93345" y="0"/>
                  </a:cubicBezTo>
                  <a:cubicBezTo>
                    <a:pt x="41910" y="0"/>
                    <a:pt x="0" y="41910"/>
                    <a:pt x="0" y="93345"/>
                  </a:cubicBezTo>
                  <a:cubicBezTo>
                    <a:pt x="0" y="144780"/>
                    <a:pt x="41275" y="186690"/>
                    <a:pt x="93345" y="186690"/>
                  </a:cubicBezTo>
                  <a:close/>
                </a:path>
              </a:pathLst>
            </a:custGeom>
            <a:solidFill>
              <a:srgbClr val="EE0C3D"/>
            </a:solidFill>
            <a:ln w="6350" cap="flat">
              <a:noFill/>
              <a:prstDash val="solid"/>
              <a:miter/>
            </a:ln>
          </p:spPr>
          <p:txBody>
            <a:bodyPr rtlCol="0" anchor="ctr"/>
            <a:lstStyle/>
            <a:p>
              <a:endParaRPr lang="en-GB"/>
            </a:p>
          </p:txBody>
        </p:sp>
        <p:sp>
          <p:nvSpPr>
            <p:cNvPr id="166" name="Freeform: Shape 165">
              <a:extLst>
                <a:ext uri="{FF2B5EF4-FFF2-40B4-BE49-F238E27FC236}">
                  <a16:creationId xmlns:a16="http://schemas.microsoft.com/office/drawing/2014/main" id="{D3E5C908-5FA8-471B-97C3-37B80EFD6608}"/>
                </a:ext>
              </a:extLst>
            </p:cNvPr>
            <p:cNvSpPr/>
            <p:nvPr/>
          </p:nvSpPr>
          <p:spPr bwMode="ltGray">
            <a:xfrm>
              <a:off x="8226425" y="5118734"/>
              <a:ext cx="160019" cy="160020"/>
            </a:xfrm>
            <a:custGeom>
              <a:avLst/>
              <a:gdLst>
                <a:gd name="connsiteX0" fmla="*/ 80010 w 160019"/>
                <a:gd name="connsiteY0" fmla="*/ 160020 h 160020"/>
                <a:gd name="connsiteX1" fmla="*/ 160020 w 160019"/>
                <a:gd name="connsiteY1" fmla="*/ 80010 h 160020"/>
                <a:gd name="connsiteX2" fmla="*/ 80010 w 160019"/>
                <a:gd name="connsiteY2" fmla="*/ 0 h 160020"/>
                <a:gd name="connsiteX3" fmla="*/ 0 w 160019"/>
                <a:gd name="connsiteY3" fmla="*/ 80010 h 160020"/>
                <a:gd name="connsiteX4" fmla="*/ 80010 w 160019"/>
                <a:gd name="connsiteY4" fmla="*/ 160020 h 160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20">
                  <a:moveTo>
                    <a:pt x="80010" y="160020"/>
                  </a:moveTo>
                  <a:cubicBezTo>
                    <a:pt x="123825" y="160020"/>
                    <a:pt x="160020" y="124460"/>
                    <a:pt x="160020" y="80010"/>
                  </a:cubicBezTo>
                  <a:cubicBezTo>
                    <a:pt x="160020" y="35560"/>
                    <a:pt x="124460" y="0"/>
                    <a:pt x="80010" y="0"/>
                  </a:cubicBezTo>
                  <a:cubicBezTo>
                    <a:pt x="35560" y="0"/>
                    <a:pt x="0" y="35560"/>
                    <a:pt x="0" y="80010"/>
                  </a:cubicBezTo>
                  <a:cubicBezTo>
                    <a:pt x="0" y="124460"/>
                    <a:pt x="35560" y="160020"/>
                    <a:pt x="80010" y="160020"/>
                  </a:cubicBezTo>
                  <a:close/>
                </a:path>
              </a:pathLst>
            </a:custGeom>
            <a:solidFill>
              <a:srgbClr val="EE0C3D"/>
            </a:solidFill>
            <a:ln w="6350" cap="flat">
              <a:noFill/>
              <a:prstDash val="solid"/>
              <a:miter/>
            </a:ln>
          </p:spPr>
          <p:txBody>
            <a:bodyPr rtlCol="0" anchor="ctr"/>
            <a:lstStyle/>
            <a:p>
              <a:endParaRPr lang="en-GB"/>
            </a:p>
          </p:txBody>
        </p:sp>
        <p:sp>
          <p:nvSpPr>
            <p:cNvPr id="167" name="Freeform: Shape 166">
              <a:extLst>
                <a:ext uri="{FF2B5EF4-FFF2-40B4-BE49-F238E27FC236}">
                  <a16:creationId xmlns:a16="http://schemas.microsoft.com/office/drawing/2014/main" id="{368971A6-5B4C-4676-81D9-7E1FAFB743AE}"/>
                </a:ext>
              </a:extLst>
            </p:cNvPr>
            <p:cNvSpPr/>
            <p:nvPr/>
          </p:nvSpPr>
          <p:spPr bwMode="ltGray">
            <a:xfrm>
              <a:off x="7879080" y="5137784"/>
              <a:ext cx="121919" cy="121920"/>
            </a:xfrm>
            <a:custGeom>
              <a:avLst/>
              <a:gdLst>
                <a:gd name="connsiteX0" fmla="*/ 60960 w 121919"/>
                <a:gd name="connsiteY0" fmla="*/ 121920 h 121920"/>
                <a:gd name="connsiteX1" fmla="*/ 121920 w 121919"/>
                <a:gd name="connsiteY1" fmla="*/ 60960 h 121920"/>
                <a:gd name="connsiteX2" fmla="*/ 60960 w 121919"/>
                <a:gd name="connsiteY2" fmla="*/ 0 h 121920"/>
                <a:gd name="connsiteX3" fmla="*/ 0 w 121919"/>
                <a:gd name="connsiteY3" fmla="*/ 60960 h 121920"/>
                <a:gd name="connsiteX4" fmla="*/ 60960 w 121919"/>
                <a:gd name="connsiteY4" fmla="*/ 12192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60960" y="121920"/>
                  </a:moveTo>
                  <a:cubicBezTo>
                    <a:pt x="94614" y="121920"/>
                    <a:pt x="121920" y="94615"/>
                    <a:pt x="121920" y="60960"/>
                  </a:cubicBezTo>
                  <a:cubicBezTo>
                    <a:pt x="121920" y="27305"/>
                    <a:pt x="94614" y="0"/>
                    <a:pt x="60960" y="0"/>
                  </a:cubicBezTo>
                  <a:cubicBezTo>
                    <a:pt x="27305" y="0"/>
                    <a:pt x="0" y="27305"/>
                    <a:pt x="0" y="60960"/>
                  </a:cubicBezTo>
                  <a:cubicBezTo>
                    <a:pt x="0" y="94615"/>
                    <a:pt x="27305" y="121920"/>
                    <a:pt x="60960" y="121920"/>
                  </a:cubicBezTo>
                  <a:close/>
                </a:path>
              </a:pathLst>
            </a:custGeom>
            <a:solidFill>
              <a:srgbClr val="EE0C3D"/>
            </a:solidFill>
            <a:ln w="6350" cap="flat">
              <a:noFill/>
              <a:prstDash val="solid"/>
              <a:miter/>
            </a:ln>
          </p:spPr>
          <p:txBody>
            <a:bodyPr rtlCol="0" anchor="ctr"/>
            <a:lstStyle/>
            <a:p>
              <a:endParaRPr lang="en-GB"/>
            </a:p>
          </p:txBody>
        </p:sp>
        <p:sp>
          <p:nvSpPr>
            <p:cNvPr id="168" name="Freeform: Shape 167">
              <a:extLst>
                <a:ext uri="{FF2B5EF4-FFF2-40B4-BE49-F238E27FC236}">
                  <a16:creationId xmlns:a16="http://schemas.microsoft.com/office/drawing/2014/main" id="{F75425E5-CFA8-4841-A457-5F0CBD906B7E}"/>
                </a:ext>
              </a:extLst>
            </p:cNvPr>
            <p:cNvSpPr/>
            <p:nvPr/>
          </p:nvSpPr>
          <p:spPr bwMode="ltGray">
            <a:xfrm>
              <a:off x="7532369" y="5156834"/>
              <a:ext cx="83820" cy="83820"/>
            </a:xfrm>
            <a:custGeom>
              <a:avLst/>
              <a:gdLst>
                <a:gd name="connsiteX0" fmla="*/ 41911 w 83820"/>
                <a:gd name="connsiteY0" fmla="*/ 83820 h 83820"/>
                <a:gd name="connsiteX1" fmla="*/ 83820 w 83820"/>
                <a:gd name="connsiteY1" fmla="*/ 41910 h 83820"/>
                <a:gd name="connsiteX2" fmla="*/ 41911 w 83820"/>
                <a:gd name="connsiteY2" fmla="*/ 0 h 83820"/>
                <a:gd name="connsiteX3" fmla="*/ 0 w 83820"/>
                <a:gd name="connsiteY3" fmla="*/ 41910 h 83820"/>
                <a:gd name="connsiteX4" fmla="*/ 41911 w 83820"/>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 h="83820">
                  <a:moveTo>
                    <a:pt x="41911" y="83820"/>
                  </a:moveTo>
                  <a:cubicBezTo>
                    <a:pt x="65405" y="83820"/>
                    <a:pt x="83820" y="64770"/>
                    <a:pt x="83820" y="41910"/>
                  </a:cubicBezTo>
                  <a:cubicBezTo>
                    <a:pt x="83820" y="18415"/>
                    <a:pt x="64770" y="0"/>
                    <a:pt x="41911" y="0"/>
                  </a:cubicBezTo>
                  <a:cubicBezTo>
                    <a:pt x="19050" y="0"/>
                    <a:pt x="0" y="19050"/>
                    <a:pt x="0" y="41910"/>
                  </a:cubicBezTo>
                  <a:cubicBezTo>
                    <a:pt x="0" y="65405"/>
                    <a:pt x="19050" y="83820"/>
                    <a:pt x="41911" y="83820"/>
                  </a:cubicBezTo>
                  <a:close/>
                </a:path>
              </a:pathLst>
            </a:custGeom>
            <a:solidFill>
              <a:srgbClr val="EE0C3D"/>
            </a:solidFill>
            <a:ln w="6350" cap="flat">
              <a:noFill/>
              <a:prstDash val="solid"/>
              <a:miter/>
            </a:ln>
          </p:spPr>
          <p:txBody>
            <a:bodyPr rtlCol="0" anchor="ctr"/>
            <a:lstStyle/>
            <a:p>
              <a:endParaRPr lang="en-GB"/>
            </a:p>
          </p:txBody>
        </p:sp>
        <p:sp>
          <p:nvSpPr>
            <p:cNvPr id="169" name="Freeform: Shape 168">
              <a:extLst>
                <a:ext uri="{FF2B5EF4-FFF2-40B4-BE49-F238E27FC236}">
                  <a16:creationId xmlns:a16="http://schemas.microsoft.com/office/drawing/2014/main" id="{F912B7EE-0657-4055-81F4-6713170E0A4F}"/>
                </a:ext>
              </a:extLst>
            </p:cNvPr>
            <p:cNvSpPr/>
            <p:nvPr/>
          </p:nvSpPr>
          <p:spPr bwMode="ltGray">
            <a:xfrm>
              <a:off x="7183755" y="5173979"/>
              <a:ext cx="49529" cy="49529"/>
            </a:xfrm>
            <a:custGeom>
              <a:avLst/>
              <a:gdLst>
                <a:gd name="connsiteX0" fmla="*/ 24764 w 49529"/>
                <a:gd name="connsiteY0" fmla="*/ 49530 h 49529"/>
                <a:gd name="connsiteX1" fmla="*/ 49530 w 49529"/>
                <a:gd name="connsiteY1" fmla="*/ 24765 h 49529"/>
                <a:gd name="connsiteX2" fmla="*/ 24764 w 49529"/>
                <a:gd name="connsiteY2" fmla="*/ 0 h 49529"/>
                <a:gd name="connsiteX3" fmla="*/ 0 w 49529"/>
                <a:gd name="connsiteY3" fmla="*/ 24765 h 49529"/>
                <a:gd name="connsiteX4" fmla="*/ 24764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4" y="49530"/>
                  </a:moveTo>
                  <a:cubicBezTo>
                    <a:pt x="38100" y="49530"/>
                    <a:pt x="49530" y="38735"/>
                    <a:pt x="49530" y="24765"/>
                  </a:cubicBezTo>
                  <a:cubicBezTo>
                    <a:pt x="49530" y="11430"/>
                    <a:pt x="38735" y="0"/>
                    <a:pt x="24764" y="0"/>
                  </a:cubicBezTo>
                  <a:cubicBezTo>
                    <a:pt x="11430" y="0"/>
                    <a:pt x="0" y="10795"/>
                    <a:pt x="0" y="24765"/>
                  </a:cubicBezTo>
                  <a:cubicBezTo>
                    <a:pt x="0" y="38735"/>
                    <a:pt x="11430" y="49530"/>
                    <a:pt x="24764" y="49530"/>
                  </a:cubicBezTo>
                  <a:close/>
                </a:path>
              </a:pathLst>
            </a:custGeom>
            <a:solidFill>
              <a:srgbClr val="EE0C3D"/>
            </a:solidFill>
            <a:ln w="6350" cap="flat">
              <a:noFill/>
              <a:prstDash val="solid"/>
              <a:miter/>
            </a:ln>
          </p:spPr>
          <p:txBody>
            <a:bodyPr rtlCol="0" anchor="ctr"/>
            <a:lstStyle/>
            <a:p>
              <a:endParaRPr lang="en-GB"/>
            </a:p>
          </p:txBody>
        </p:sp>
        <p:sp>
          <p:nvSpPr>
            <p:cNvPr id="170" name="Freeform: Shape 169">
              <a:extLst>
                <a:ext uri="{FF2B5EF4-FFF2-40B4-BE49-F238E27FC236}">
                  <a16:creationId xmlns:a16="http://schemas.microsoft.com/office/drawing/2014/main" id="{9B3151BF-101B-4101-A928-B5A8F6E83E5A}"/>
                </a:ext>
              </a:extLst>
            </p:cNvPr>
            <p:cNvSpPr/>
            <p:nvPr/>
          </p:nvSpPr>
          <p:spPr bwMode="ltGray">
            <a:xfrm>
              <a:off x="11215369" y="481457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71" name="Freeform: Shape 170">
              <a:extLst>
                <a:ext uri="{FF2B5EF4-FFF2-40B4-BE49-F238E27FC236}">
                  <a16:creationId xmlns:a16="http://schemas.microsoft.com/office/drawing/2014/main" id="{7B22DE07-A305-4F27-B869-C502AAC506B4}"/>
                </a:ext>
              </a:extLst>
            </p:cNvPr>
            <p:cNvSpPr/>
            <p:nvPr/>
          </p:nvSpPr>
          <p:spPr bwMode="ltGray">
            <a:xfrm>
              <a:off x="10836909" y="4802504"/>
              <a:ext cx="60959" cy="60960"/>
            </a:xfrm>
            <a:custGeom>
              <a:avLst/>
              <a:gdLst>
                <a:gd name="connsiteX0" fmla="*/ 30480 w 60959"/>
                <a:gd name="connsiteY0" fmla="*/ 60960 h 60960"/>
                <a:gd name="connsiteX1" fmla="*/ 60960 w 60959"/>
                <a:gd name="connsiteY1" fmla="*/ 30480 h 60960"/>
                <a:gd name="connsiteX2" fmla="*/ 30480 w 60959"/>
                <a:gd name="connsiteY2" fmla="*/ 0 h 60960"/>
                <a:gd name="connsiteX3" fmla="*/ 0 w 60959"/>
                <a:gd name="connsiteY3" fmla="*/ 30480 h 60960"/>
                <a:gd name="connsiteX4" fmla="*/ 30480 w 60959"/>
                <a:gd name="connsiteY4" fmla="*/ 60960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9" h="60960">
                  <a:moveTo>
                    <a:pt x="30480" y="60960"/>
                  </a:moveTo>
                  <a:cubicBezTo>
                    <a:pt x="47625" y="60960"/>
                    <a:pt x="60960" y="46990"/>
                    <a:pt x="60960" y="30480"/>
                  </a:cubicBezTo>
                  <a:cubicBezTo>
                    <a:pt x="60960" y="13335"/>
                    <a:pt x="46990" y="0"/>
                    <a:pt x="30480" y="0"/>
                  </a:cubicBezTo>
                  <a:cubicBezTo>
                    <a:pt x="13970" y="0"/>
                    <a:pt x="0" y="13970"/>
                    <a:pt x="0" y="30480"/>
                  </a:cubicBezTo>
                  <a:cubicBezTo>
                    <a:pt x="0" y="47625"/>
                    <a:pt x="13970" y="60960"/>
                    <a:pt x="30480" y="60960"/>
                  </a:cubicBezTo>
                  <a:close/>
                </a:path>
              </a:pathLst>
            </a:custGeom>
            <a:solidFill>
              <a:srgbClr val="EE0C3D"/>
            </a:solidFill>
            <a:ln w="6350" cap="flat">
              <a:noFill/>
              <a:prstDash val="solid"/>
              <a:miter/>
            </a:ln>
          </p:spPr>
          <p:txBody>
            <a:bodyPr rtlCol="0" anchor="ctr"/>
            <a:lstStyle/>
            <a:p>
              <a:endParaRPr lang="en-GB"/>
            </a:p>
          </p:txBody>
        </p:sp>
        <p:sp>
          <p:nvSpPr>
            <p:cNvPr id="172" name="Freeform: Shape 171">
              <a:extLst>
                <a:ext uri="{FF2B5EF4-FFF2-40B4-BE49-F238E27FC236}">
                  <a16:creationId xmlns:a16="http://schemas.microsoft.com/office/drawing/2014/main" id="{C2DC2B85-1F6F-490A-A422-E48EAC2A5B60}"/>
                </a:ext>
              </a:extLst>
            </p:cNvPr>
            <p:cNvSpPr/>
            <p:nvPr/>
          </p:nvSpPr>
          <p:spPr bwMode="ltGray">
            <a:xfrm>
              <a:off x="10456544" y="4787900"/>
              <a:ext cx="90170" cy="90170"/>
            </a:xfrm>
            <a:custGeom>
              <a:avLst/>
              <a:gdLst>
                <a:gd name="connsiteX0" fmla="*/ 0 w 90170"/>
                <a:gd name="connsiteY0" fmla="*/ 45085 h 90170"/>
                <a:gd name="connsiteX1" fmla="*/ 45086 w 90170"/>
                <a:gd name="connsiteY1" fmla="*/ 90170 h 90170"/>
                <a:gd name="connsiteX2" fmla="*/ 90170 w 90170"/>
                <a:gd name="connsiteY2" fmla="*/ 45085 h 90170"/>
                <a:gd name="connsiteX3" fmla="*/ 45086 w 90170"/>
                <a:gd name="connsiteY3" fmla="*/ 0 h 90170"/>
                <a:gd name="connsiteX4" fmla="*/ 0 w 90170"/>
                <a:gd name="connsiteY4" fmla="*/ 45085 h 90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70" h="90170">
                  <a:moveTo>
                    <a:pt x="0" y="45085"/>
                  </a:moveTo>
                  <a:cubicBezTo>
                    <a:pt x="0" y="69850"/>
                    <a:pt x="20320" y="90170"/>
                    <a:pt x="45086" y="90170"/>
                  </a:cubicBezTo>
                  <a:cubicBezTo>
                    <a:pt x="69850" y="90170"/>
                    <a:pt x="90170" y="69850"/>
                    <a:pt x="90170" y="45085"/>
                  </a:cubicBezTo>
                  <a:cubicBezTo>
                    <a:pt x="90170" y="20320"/>
                    <a:pt x="69850" y="0"/>
                    <a:pt x="45086" y="0"/>
                  </a:cubicBezTo>
                  <a:cubicBezTo>
                    <a:pt x="20320" y="0"/>
                    <a:pt x="0" y="20320"/>
                    <a:pt x="0" y="45085"/>
                  </a:cubicBezTo>
                  <a:close/>
                </a:path>
              </a:pathLst>
            </a:custGeom>
            <a:solidFill>
              <a:srgbClr val="EE0C3D"/>
            </a:solidFill>
            <a:ln w="6350" cap="flat">
              <a:noFill/>
              <a:prstDash val="solid"/>
              <a:miter/>
            </a:ln>
          </p:spPr>
          <p:txBody>
            <a:bodyPr rtlCol="0" anchor="ctr"/>
            <a:lstStyle/>
            <a:p>
              <a:endParaRPr lang="en-GB"/>
            </a:p>
          </p:txBody>
        </p:sp>
        <p:sp>
          <p:nvSpPr>
            <p:cNvPr id="173" name="Freeform: Shape 172">
              <a:extLst>
                <a:ext uri="{FF2B5EF4-FFF2-40B4-BE49-F238E27FC236}">
                  <a16:creationId xmlns:a16="http://schemas.microsoft.com/office/drawing/2014/main" id="{98AE3489-53A8-4384-9267-91D8F863AD7F}"/>
                </a:ext>
              </a:extLst>
            </p:cNvPr>
            <p:cNvSpPr/>
            <p:nvPr/>
          </p:nvSpPr>
          <p:spPr bwMode="ltGray">
            <a:xfrm>
              <a:off x="10078719" y="4775834"/>
              <a:ext cx="114300" cy="114300"/>
            </a:xfrm>
            <a:custGeom>
              <a:avLst/>
              <a:gdLst>
                <a:gd name="connsiteX0" fmla="*/ 0 w 114300"/>
                <a:gd name="connsiteY0" fmla="*/ 57150 h 114300"/>
                <a:gd name="connsiteX1" fmla="*/ 57150 w 114300"/>
                <a:gd name="connsiteY1" fmla="*/ 114300 h 114300"/>
                <a:gd name="connsiteX2" fmla="*/ 114300 w 114300"/>
                <a:gd name="connsiteY2" fmla="*/ 57150 h 114300"/>
                <a:gd name="connsiteX3" fmla="*/ 57150 w 114300"/>
                <a:gd name="connsiteY3" fmla="*/ 0 h 114300"/>
                <a:gd name="connsiteX4" fmla="*/ 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0" y="57150"/>
                  </a:moveTo>
                  <a:cubicBezTo>
                    <a:pt x="0" y="88900"/>
                    <a:pt x="25400" y="114300"/>
                    <a:pt x="57150" y="114300"/>
                  </a:cubicBezTo>
                  <a:cubicBezTo>
                    <a:pt x="88900" y="114300"/>
                    <a:pt x="114300" y="88900"/>
                    <a:pt x="114300" y="57150"/>
                  </a:cubicBezTo>
                  <a:cubicBezTo>
                    <a:pt x="114300" y="25400"/>
                    <a:pt x="88900" y="0"/>
                    <a:pt x="57150" y="0"/>
                  </a:cubicBezTo>
                  <a:cubicBezTo>
                    <a:pt x="25400" y="0"/>
                    <a:pt x="0" y="25400"/>
                    <a:pt x="0" y="57150"/>
                  </a:cubicBezTo>
                  <a:close/>
                </a:path>
              </a:pathLst>
            </a:custGeom>
            <a:solidFill>
              <a:srgbClr val="EE0C3D"/>
            </a:solidFill>
            <a:ln w="6350" cap="flat">
              <a:noFill/>
              <a:prstDash val="solid"/>
              <a:miter/>
            </a:ln>
          </p:spPr>
          <p:txBody>
            <a:bodyPr rtlCol="0" anchor="ctr"/>
            <a:lstStyle/>
            <a:p>
              <a:endParaRPr lang="en-GB"/>
            </a:p>
          </p:txBody>
        </p:sp>
        <p:sp>
          <p:nvSpPr>
            <p:cNvPr id="174" name="Freeform: Shape 173">
              <a:extLst>
                <a:ext uri="{FF2B5EF4-FFF2-40B4-BE49-F238E27FC236}">
                  <a16:creationId xmlns:a16="http://schemas.microsoft.com/office/drawing/2014/main" id="{7755A882-1719-4E73-8E9A-113C5F6DC104}"/>
                </a:ext>
              </a:extLst>
            </p:cNvPr>
            <p:cNvSpPr/>
            <p:nvPr/>
          </p:nvSpPr>
          <p:spPr bwMode="ltGray">
            <a:xfrm>
              <a:off x="9704069" y="4766945"/>
              <a:ext cx="132080" cy="132079"/>
            </a:xfrm>
            <a:custGeom>
              <a:avLst/>
              <a:gdLst>
                <a:gd name="connsiteX0" fmla="*/ 66040 w 132080"/>
                <a:gd name="connsiteY0" fmla="*/ 132080 h 132079"/>
                <a:gd name="connsiteX1" fmla="*/ 132080 w 132080"/>
                <a:gd name="connsiteY1" fmla="*/ 66040 h 132079"/>
                <a:gd name="connsiteX2" fmla="*/ 66040 w 132080"/>
                <a:gd name="connsiteY2" fmla="*/ 0 h 132079"/>
                <a:gd name="connsiteX3" fmla="*/ 0 w 132080"/>
                <a:gd name="connsiteY3" fmla="*/ 66040 h 132079"/>
                <a:gd name="connsiteX4" fmla="*/ 66040 w 132080"/>
                <a:gd name="connsiteY4" fmla="*/ 132080 h 132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 h="132079">
                  <a:moveTo>
                    <a:pt x="66040" y="132080"/>
                  </a:moveTo>
                  <a:cubicBezTo>
                    <a:pt x="102236" y="132080"/>
                    <a:pt x="132080" y="102870"/>
                    <a:pt x="132080" y="66040"/>
                  </a:cubicBezTo>
                  <a:cubicBezTo>
                    <a:pt x="132080" y="29845"/>
                    <a:pt x="102870" y="0"/>
                    <a:pt x="66040" y="0"/>
                  </a:cubicBezTo>
                  <a:cubicBezTo>
                    <a:pt x="29845" y="0"/>
                    <a:pt x="0" y="29210"/>
                    <a:pt x="0" y="66040"/>
                  </a:cubicBezTo>
                  <a:cubicBezTo>
                    <a:pt x="0" y="102235"/>
                    <a:pt x="29211" y="132080"/>
                    <a:pt x="66040" y="132080"/>
                  </a:cubicBezTo>
                  <a:close/>
                </a:path>
              </a:pathLst>
            </a:custGeom>
            <a:solidFill>
              <a:srgbClr val="EE0C3D"/>
            </a:solidFill>
            <a:ln w="6350" cap="flat">
              <a:noFill/>
              <a:prstDash val="solid"/>
              <a:miter/>
            </a:ln>
          </p:spPr>
          <p:txBody>
            <a:bodyPr rtlCol="0" anchor="ctr"/>
            <a:lstStyle/>
            <a:p>
              <a:endParaRPr lang="en-GB"/>
            </a:p>
          </p:txBody>
        </p:sp>
        <p:sp>
          <p:nvSpPr>
            <p:cNvPr id="175" name="Freeform: Shape 174">
              <a:extLst>
                <a:ext uri="{FF2B5EF4-FFF2-40B4-BE49-F238E27FC236}">
                  <a16:creationId xmlns:a16="http://schemas.microsoft.com/office/drawing/2014/main" id="{357DFBBA-78DE-41CE-A9F1-77B5A00889A7}"/>
                </a:ext>
              </a:extLst>
            </p:cNvPr>
            <p:cNvSpPr/>
            <p:nvPr/>
          </p:nvSpPr>
          <p:spPr bwMode="ltGray">
            <a:xfrm>
              <a:off x="9333865" y="4762500"/>
              <a:ext cx="140969" cy="140970"/>
            </a:xfrm>
            <a:custGeom>
              <a:avLst/>
              <a:gdLst>
                <a:gd name="connsiteX0" fmla="*/ 0 w 140969"/>
                <a:gd name="connsiteY0" fmla="*/ 70485 h 140970"/>
                <a:gd name="connsiteX1" fmla="*/ 70485 w 140969"/>
                <a:gd name="connsiteY1" fmla="*/ 140970 h 140970"/>
                <a:gd name="connsiteX2" fmla="*/ 140970 w 140969"/>
                <a:gd name="connsiteY2" fmla="*/ 70485 h 140970"/>
                <a:gd name="connsiteX3" fmla="*/ 70485 w 140969"/>
                <a:gd name="connsiteY3" fmla="*/ 0 h 140970"/>
                <a:gd name="connsiteX4" fmla="*/ 0 w 140969"/>
                <a:gd name="connsiteY4" fmla="*/ 70485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9" h="140970">
                  <a:moveTo>
                    <a:pt x="0" y="70485"/>
                  </a:moveTo>
                  <a:cubicBezTo>
                    <a:pt x="0" y="109220"/>
                    <a:pt x="31750" y="140970"/>
                    <a:pt x="70485" y="140970"/>
                  </a:cubicBezTo>
                  <a:cubicBezTo>
                    <a:pt x="109220" y="140970"/>
                    <a:pt x="140970" y="109220"/>
                    <a:pt x="140970" y="70485"/>
                  </a:cubicBezTo>
                  <a:cubicBezTo>
                    <a:pt x="140970" y="31750"/>
                    <a:pt x="109220" y="0"/>
                    <a:pt x="70485" y="0"/>
                  </a:cubicBezTo>
                  <a:cubicBezTo>
                    <a:pt x="31750" y="0"/>
                    <a:pt x="0" y="31750"/>
                    <a:pt x="0" y="70485"/>
                  </a:cubicBezTo>
                  <a:close/>
                </a:path>
              </a:pathLst>
            </a:custGeom>
            <a:solidFill>
              <a:srgbClr val="EE0C3D"/>
            </a:solidFill>
            <a:ln w="6350" cap="flat">
              <a:noFill/>
              <a:prstDash val="solid"/>
              <a:miter/>
            </a:ln>
          </p:spPr>
          <p:txBody>
            <a:bodyPr rtlCol="0" anchor="ctr"/>
            <a:lstStyle/>
            <a:p>
              <a:endParaRPr lang="en-GB"/>
            </a:p>
          </p:txBody>
        </p:sp>
        <p:sp>
          <p:nvSpPr>
            <p:cNvPr id="176" name="Freeform: Shape 175">
              <a:extLst>
                <a:ext uri="{FF2B5EF4-FFF2-40B4-BE49-F238E27FC236}">
                  <a16:creationId xmlns:a16="http://schemas.microsoft.com/office/drawing/2014/main" id="{032C007E-A1F5-480B-9560-5DE24DA0872C}"/>
                </a:ext>
              </a:extLst>
            </p:cNvPr>
            <p:cNvSpPr/>
            <p:nvPr/>
          </p:nvSpPr>
          <p:spPr bwMode="ltGray">
            <a:xfrm>
              <a:off x="8969375" y="4764404"/>
              <a:ext cx="137159" cy="137160"/>
            </a:xfrm>
            <a:custGeom>
              <a:avLst/>
              <a:gdLst>
                <a:gd name="connsiteX0" fmla="*/ 0 w 137159"/>
                <a:gd name="connsiteY0" fmla="*/ 68580 h 137160"/>
                <a:gd name="connsiteX1" fmla="*/ 68580 w 137159"/>
                <a:gd name="connsiteY1" fmla="*/ 137160 h 137160"/>
                <a:gd name="connsiteX2" fmla="*/ 137160 w 137159"/>
                <a:gd name="connsiteY2" fmla="*/ 68580 h 137160"/>
                <a:gd name="connsiteX3" fmla="*/ 68580 w 137159"/>
                <a:gd name="connsiteY3" fmla="*/ 0 h 137160"/>
                <a:gd name="connsiteX4" fmla="*/ 0 w 137159"/>
                <a:gd name="connsiteY4" fmla="*/ 68580 h 13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59" h="137160">
                  <a:moveTo>
                    <a:pt x="0" y="68580"/>
                  </a:moveTo>
                  <a:cubicBezTo>
                    <a:pt x="0" y="106680"/>
                    <a:pt x="30480" y="137160"/>
                    <a:pt x="68580" y="137160"/>
                  </a:cubicBezTo>
                  <a:cubicBezTo>
                    <a:pt x="106680" y="137160"/>
                    <a:pt x="137160" y="106680"/>
                    <a:pt x="137160" y="68580"/>
                  </a:cubicBezTo>
                  <a:cubicBezTo>
                    <a:pt x="137160" y="30480"/>
                    <a:pt x="106680" y="0"/>
                    <a:pt x="68580" y="0"/>
                  </a:cubicBezTo>
                  <a:cubicBezTo>
                    <a:pt x="30480" y="0"/>
                    <a:pt x="0" y="31115"/>
                    <a:pt x="0" y="68580"/>
                  </a:cubicBezTo>
                  <a:close/>
                </a:path>
              </a:pathLst>
            </a:custGeom>
            <a:solidFill>
              <a:srgbClr val="EE0C3D"/>
            </a:solidFill>
            <a:ln w="6350" cap="flat">
              <a:noFill/>
              <a:prstDash val="solid"/>
              <a:miter/>
            </a:ln>
          </p:spPr>
          <p:txBody>
            <a:bodyPr rtlCol="0" anchor="ctr"/>
            <a:lstStyle/>
            <a:p>
              <a:endParaRPr lang="en-GB"/>
            </a:p>
          </p:txBody>
        </p:sp>
        <p:sp>
          <p:nvSpPr>
            <p:cNvPr id="177" name="Freeform: Shape 176">
              <a:extLst>
                <a:ext uri="{FF2B5EF4-FFF2-40B4-BE49-F238E27FC236}">
                  <a16:creationId xmlns:a16="http://schemas.microsoft.com/office/drawing/2014/main" id="{42542FFB-85B3-4CD0-8B5F-ECEAA81978EA}"/>
                </a:ext>
              </a:extLst>
            </p:cNvPr>
            <p:cNvSpPr/>
            <p:nvPr/>
          </p:nvSpPr>
          <p:spPr bwMode="ltGray">
            <a:xfrm>
              <a:off x="8609965" y="4770755"/>
              <a:ext cx="124459" cy="124459"/>
            </a:xfrm>
            <a:custGeom>
              <a:avLst/>
              <a:gdLst>
                <a:gd name="connsiteX0" fmla="*/ 124460 w 124459"/>
                <a:gd name="connsiteY0" fmla="*/ 62230 h 124459"/>
                <a:gd name="connsiteX1" fmla="*/ 62230 w 124459"/>
                <a:gd name="connsiteY1" fmla="*/ 124460 h 124459"/>
                <a:gd name="connsiteX2" fmla="*/ -1 w 124459"/>
                <a:gd name="connsiteY2" fmla="*/ 62230 h 124459"/>
                <a:gd name="connsiteX3" fmla="*/ 62230 w 124459"/>
                <a:gd name="connsiteY3" fmla="*/ 0 h 124459"/>
                <a:gd name="connsiteX4" fmla="*/ 124460 w 124459"/>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124460" y="62230"/>
                  </a:moveTo>
                  <a:cubicBezTo>
                    <a:pt x="124460" y="96599"/>
                    <a:pt x="96599" y="124460"/>
                    <a:pt x="62230" y="124460"/>
                  </a:cubicBezTo>
                  <a:cubicBezTo>
                    <a:pt x="27861" y="124460"/>
                    <a:pt x="-1" y="96598"/>
                    <a:pt x="-1" y="62230"/>
                  </a:cubicBezTo>
                  <a:cubicBezTo>
                    <a:pt x="-1" y="27861"/>
                    <a:pt x="27860" y="0"/>
                    <a:pt x="62230" y="0"/>
                  </a:cubicBezTo>
                  <a:cubicBezTo>
                    <a:pt x="96598" y="0"/>
                    <a:pt x="124460" y="27861"/>
                    <a:pt x="124460" y="62230"/>
                  </a:cubicBezTo>
                  <a:close/>
                </a:path>
              </a:pathLst>
            </a:custGeom>
            <a:solidFill>
              <a:srgbClr val="EE0C3D"/>
            </a:solidFill>
            <a:ln w="6350" cap="flat">
              <a:noFill/>
              <a:prstDash val="solid"/>
              <a:miter/>
            </a:ln>
          </p:spPr>
          <p:txBody>
            <a:bodyPr rtlCol="0" anchor="ctr"/>
            <a:lstStyle/>
            <a:p>
              <a:endParaRPr lang="en-GB"/>
            </a:p>
          </p:txBody>
        </p:sp>
        <p:sp>
          <p:nvSpPr>
            <p:cNvPr id="178" name="Freeform: Shape 177">
              <a:extLst>
                <a:ext uri="{FF2B5EF4-FFF2-40B4-BE49-F238E27FC236}">
                  <a16:creationId xmlns:a16="http://schemas.microsoft.com/office/drawing/2014/main" id="{B43D5F0D-E772-4E08-B5A3-53416C73D173}"/>
                </a:ext>
              </a:extLst>
            </p:cNvPr>
            <p:cNvSpPr/>
            <p:nvPr/>
          </p:nvSpPr>
          <p:spPr bwMode="ltGray">
            <a:xfrm>
              <a:off x="8255634" y="4782184"/>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225" y="101600"/>
                    <a:pt x="50800" y="101600"/>
                  </a:cubicBezTo>
                  <a:close/>
                </a:path>
              </a:pathLst>
            </a:custGeom>
            <a:solidFill>
              <a:srgbClr val="EE0C3D"/>
            </a:solidFill>
            <a:ln w="6350" cap="flat">
              <a:noFill/>
              <a:prstDash val="solid"/>
              <a:miter/>
            </a:ln>
          </p:spPr>
          <p:txBody>
            <a:bodyPr rtlCol="0" anchor="ctr"/>
            <a:lstStyle/>
            <a:p>
              <a:endParaRPr lang="en-GB"/>
            </a:p>
          </p:txBody>
        </p:sp>
        <p:sp>
          <p:nvSpPr>
            <p:cNvPr id="179" name="Freeform: Shape 178">
              <a:extLst>
                <a:ext uri="{FF2B5EF4-FFF2-40B4-BE49-F238E27FC236}">
                  <a16:creationId xmlns:a16="http://schemas.microsoft.com/office/drawing/2014/main" id="{8F3E2A19-1F67-44F5-9ACF-4BF72955DE29}"/>
                </a:ext>
              </a:extLst>
            </p:cNvPr>
            <p:cNvSpPr/>
            <p:nvPr/>
          </p:nvSpPr>
          <p:spPr bwMode="ltGray">
            <a:xfrm>
              <a:off x="7903209" y="4796154"/>
              <a:ext cx="73659" cy="73660"/>
            </a:xfrm>
            <a:custGeom>
              <a:avLst/>
              <a:gdLst>
                <a:gd name="connsiteX0" fmla="*/ 36830 w 73659"/>
                <a:gd name="connsiteY0" fmla="*/ 73660 h 73660"/>
                <a:gd name="connsiteX1" fmla="*/ 73660 w 73659"/>
                <a:gd name="connsiteY1" fmla="*/ 36830 h 73660"/>
                <a:gd name="connsiteX2" fmla="*/ 36830 w 73659"/>
                <a:gd name="connsiteY2" fmla="*/ 0 h 73660"/>
                <a:gd name="connsiteX3" fmla="*/ 0 w 73659"/>
                <a:gd name="connsiteY3" fmla="*/ 36830 h 73660"/>
                <a:gd name="connsiteX4" fmla="*/ 36830 w 73659"/>
                <a:gd name="connsiteY4" fmla="*/ 73660 h 7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59" h="73660">
                  <a:moveTo>
                    <a:pt x="36830" y="73660"/>
                  </a:moveTo>
                  <a:cubicBezTo>
                    <a:pt x="57150" y="73660"/>
                    <a:pt x="73660" y="57150"/>
                    <a:pt x="73660" y="36830"/>
                  </a:cubicBezTo>
                  <a:cubicBezTo>
                    <a:pt x="73660" y="16510"/>
                    <a:pt x="57150" y="0"/>
                    <a:pt x="36830" y="0"/>
                  </a:cubicBezTo>
                  <a:cubicBezTo>
                    <a:pt x="16510" y="0"/>
                    <a:pt x="0" y="16510"/>
                    <a:pt x="0" y="36830"/>
                  </a:cubicBezTo>
                  <a:cubicBezTo>
                    <a:pt x="0" y="57150"/>
                    <a:pt x="16510" y="73660"/>
                    <a:pt x="36830" y="73660"/>
                  </a:cubicBezTo>
                  <a:close/>
                </a:path>
              </a:pathLst>
            </a:custGeom>
            <a:solidFill>
              <a:srgbClr val="EE0C3D"/>
            </a:solidFill>
            <a:ln w="6350" cap="flat">
              <a:noFill/>
              <a:prstDash val="solid"/>
              <a:miter/>
            </a:ln>
          </p:spPr>
          <p:txBody>
            <a:bodyPr rtlCol="0" anchor="ctr"/>
            <a:lstStyle/>
            <a:p>
              <a:endParaRPr lang="en-GB"/>
            </a:p>
          </p:txBody>
        </p:sp>
        <p:sp>
          <p:nvSpPr>
            <p:cNvPr id="180" name="Freeform: Shape 179">
              <a:extLst>
                <a:ext uri="{FF2B5EF4-FFF2-40B4-BE49-F238E27FC236}">
                  <a16:creationId xmlns:a16="http://schemas.microsoft.com/office/drawing/2014/main" id="{5FE44E59-EA7E-4B2A-A9DC-C8FEDDB62B60}"/>
                </a:ext>
              </a:extLst>
            </p:cNvPr>
            <p:cNvSpPr/>
            <p:nvPr/>
          </p:nvSpPr>
          <p:spPr bwMode="ltGray">
            <a:xfrm>
              <a:off x="7549515" y="4808220"/>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1430" y="49530"/>
                    <a:pt x="24765" y="49530"/>
                  </a:cubicBezTo>
                  <a:close/>
                </a:path>
              </a:pathLst>
            </a:custGeom>
            <a:solidFill>
              <a:srgbClr val="EE0C3D"/>
            </a:solidFill>
            <a:ln w="6350" cap="flat">
              <a:noFill/>
              <a:prstDash val="solid"/>
              <a:miter/>
            </a:ln>
          </p:spPr>
          <p:txBody>
            <a:bodyPr rtlCol="0" anchor="ctr"/>
            <a:lstStyle/>
            <a:p>
              <a:endParaRPr lang="en-GB"/>
            </a:p>
          </p:txBody>
        </p:sp>
        <p:sp>
          <p:nvSpPr>
            <p:cNvPr id="181" name="Freeform: Shape 180">
              <a:extLst>
                <a:ext uri="{FF2B5EF4-FFF2-40B4-BE49-F238E27FC236}">
                  <a16:creationId xmlns:a16="http://schemas.microsoft.com/office/drawing/2014/main" id="{CE2691F5-9CC3-48DF-BED2-9D03941C09ED}"/>
                </a:ext>
              </a:extLst>
            </p:cNvPr>
            <p:cNvSpPr/>
            <p:nvPr/>
          </p:nvSpPr>
          <p:spPr bwMode="ltGray">
            <a:xfrm>
              <a:off x="10852150" y="4451350"/>
              <a:ext cx="31750" cy="31750"/>
            </a:xfrm>
            <a:custGeom>
              <a:avLst/>
              <a:gdLst>
                <a:gd name="connsiteX0" fmla="*/ 0 w 31750"/>
                <a:gd name="connsiteY0" fmla="*/ 15875 h 31750"/>
                <a:gd name="connsiteX1" fmla="*/ 15875 w 31750"/>
                <a:gd name="connsiteY1" fmla="*/ 31750 h 31750"/>
                <a:gd name="connsiteX2" fmla="*/ 31750 w 31750"/>
                <a:gd name="connsiteY2" fmla="*/ 15875 h 31750"/>
                <a:gd name="connsiteX3" fmla="*/ 15875 w 31750"/>
                <a:gd name="connsiteY3" fmla="*/ 0 h 31750"/>
                <a:gd name="connsiteX4" fmla="*/ 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0" y="15875"/>
                  </a:moveTo>
                  <a:cubicBezTo>
                    <a:pt x="0" y="24765"/>
                    <a:pt x="6985" y="31750"/>
                    <a:pt x="15875" y="31750"/>
                  </a:cubicBezTo>
                  <a:cubicBezTo>
                    <a:pt x="24765" y="31750"/>
                    <a:pt x="31750" y="24765"/>
                    <a:pt x="31750" y="15875"/>
                  </a:cubicBezTo>
                  <a:cubicBezTo>
                    <a:pt x="31750" y="6985"/>
                    <a:pt x="24765" y="0"/>
                    <a:pt x="15875" y="0"/>
                  </a:cubicBezTo>
                  <a:cubicBezTo>
                    <a:pt x="6985" y="0"/>
                    <a:pt x="0" y="6985"/>
                    <a:pt x="0" y="15875"/>
                  </a:cubicBezTo>
                  <a:close/>
                </a:path>
              </a:pathLst>
            </a:custGeom>
            <a:solidFill>
              <a:srgbClr val="EE0C3D"/>
            </a:solidFill>
            <a:ln w="6350" cap="flat">
              <a:noFill/>
              <a:prstDash val="solid"/>
              <a:miter/>
            </a:ln>
          </p:spPr>
          <p:txBody>
            <a:bodyPr rtlCol="0" anchor="ctr"/>
            <a:lstStyle/>
            <a:p>
              <a:endParaRPr lang="en-GB"/>
            </a:p>
          </p:txBody>
        </p:sp>
        <p:sp>
          <p:nvSpPr>
            <p:cNvPr id="182" name="Freeform: Shape 181">
              <a:extLst>
                <a:ext uri="{FF2B5EF4-FFF2-40B4-BE49-F238E27FC236}">
                  <a16:creationId xmlns:a16="http://schemas.microsoft.com/office/drawing/2014/main" id="{FBFEF638-24B1-4851-BEDE-9AB44193853D}"/>
                </a:ext>
              </a:extLst>
            </p:cNvPr>
            <p:cNvSpPr/>
            <p:nvPr/>
          </p:nvSpPr>
          <p:spPr bwMode="ltGray">
            <a:xfrm>
              <a:off x="10477500" y="4443095"/>
              <a:ext cx="48259" cy="48259"/>
            </a:xfrm>
            <a:custGeom>
              <a:avLst/>
              <a:gdLst>
                <a:gd name="connsiteX0" fmla="*/ 48260 w 48259"/>
                <a:gd name="connsiteY0" fmla="*/ 24130 h 48259"/>
                <a:gd name="connsiteX1" fmla="*/ 24130 w 48259"/>
                <a:gd name="connsiteY1" fmla="*/ 0 h 48259"/>
                <a:gd name="connsiteX2" fmla="*/ 0 w 48259"/>
                <a:gd name="connsiteY2" fmla="*/ 24130 h 48259"/>
                <a:gd name="connsiteX3" fmla="*/ 24130 w 48259"/>
                <a:gd name="connsiteY3" fmla="*/ 48260 h 48259"/>
                <a:gd name="connsiteX4" fmla="*/ 48260 w 48259"/>
                <a:gd name="connsiteY4" fmla="*/ 24130 h 4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59" h="48259">
                  <a:moveTo>
                    <a:pt x="48260" y="24130"/>
                  </a:moveTo>
                  <a:cubicBezTo>
                    <a:pt x="48260" y="10795"/>
                    <a:pt x="37465" y="0"/>
                    <a:pt x="24130" y="0"/>
                  </a:cubicBezTo>
                  <a:cubicBezTo>
                    <a:pt x="10795" y="0"/>
                    <a:pt x="0" y="10795"/>
                    <a:pt x="0" y="24130"/>
                  </a:cubicBezTo>
                  <a:cubicBezTo>
                    <a:pt x="0" y="37465"/>
                    <a:pt x="10795" y="48260"/>
                    <a:pt x="24130" y="48260"/>
                  </a:cubicBezTo>
                  <a:cubicBezTo>
                    <a:pt x="37465" y="47625"/>
                    <a:pt x="48260" y="37465"/>
                    <a:pt x="48260" y="24130"/>
                  </a:cubicBezTo>
                  <a:close/>
                </a:path>
              </a:pathLst>
            </a:custGeom>
            <a:solidFill>
              <a:srgbClr val="EE0C3D"/>
            </a:solidFill>
            <a:ln w="6350" cap="flat">
              <a:noFill/>
              <a:prstDash val="solid"/>
              <a:miter/>
            </a:ln>
          </p:spPr>
          <p:txBody>
            <a:bodyPr rtlCol="0" anchor="ctr"/>
            <a:lstStyle/>
            <a:p>
              <a:endParaRPr lang="en-GB"/>
            </a:p>
          </p:txBody>
        </p:sp>
        <p:sp>
          <p:nvSpPr>
            <p:cNvPr id="183" name="Freeform: Shape 182">
              <a:extLst>
                <a:ext uri="{FF2B5EF4-FFF2-40B4-BE49-F238E27FC236}">
                  <a16:creationId xmlns:a16="http://schemas.microsoft.com/office/drawing/2014/main" id="{6A0BB597-E644-4B29-AE0B-28943BCB8DBB}"/>
                </a:ext>
              </a:extLst>
            </p:cNvPr>
            <p:cNvSpPr/>
            <p:nvPr/>
          </p:nvSpPr>
          <p:spPr bwMode="ltGray">
            <a:xfrm>
              <a:off x="10104119" y="4435475"/>
              <a:ext cx="63500" cy="63500"/>
            </a:xfrm>
            <a:custGeom>
              <a:avLst/>
              <a:gdLst>
                <a:gd name="connsiteX0" fmla="*/ 63500 w 63500"/>
                <a:gd name="connsiteY0" fmla="*/ 31750 h 63500"/>
                <a:gd name="connsiteX1" fmla="*/ 31750 w 63500"/>
                <a:gd name="connsiteY1" fmla="*/ 0 h 63500"/>
                <a:gd name="connsiteX2" fmla="*/ 0 w 63500"/>
                <a:gd name="connsiteY2" fmla="*/ 31750 h 63500"/>
                <a:gd name="connsiteX3" fmla="*/ 31750 w 63500"/>
                <a:gd name="connsiteY3" fmla="*/ 63500 h 63500"/>
                <a:gd name="connsiteX4" fmla="*/ 63500 w 63500"/>
                <a:gd name="connsiteY4" fmla="*/ 3175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0" h="63500">
                  <a:moveTo>
                    <a:pt x="63500" y="31750"/>
                  </a:moveTo>
                  <a:cubicBezTo>
                    <a:pt x="63500" y="13970"/>
                    <a:pt x="48895" y="0"/>
                    <a:pt x="31750" y="0"/>
                  </a:cubicBezTo>
                  <a:cubicBezTo>
                    <a:pt x="14605" y="0"/>
                    <a:pt x="0" y="14605"/>
                    <a:pt x="0" y="31750"/>
                  </a:cubicBezTo>
                  <a:cubicBezTo>
                    <a:pt x="0" y="48895"/>
                    <a:pt x="14605" y="63500"/>
                    <a:pt x="31750" y="63500"/>
                  </a:cubicBezTo>
                  <a:cubicBezTo>
                    <a:pt x="48895" y="63500"/>
                    <a:pt x="63500" y="49530"/>
                    <a:pt x="63500" y="31750"/>
                  </a:cubicBezTo>
                  <a:close/>
                </a:path>
              </a:pathLst>
            </a:custGeom>
            <a:solidFill>
              <a:srgbClr val="EE0C3D"/>
            </a:solidFill>
            <a:ln w="6350" cap="flat">
              <a:noFill/>
              <a:prstDash val="solid"/>
              <a:miter/>
            </a:ln>
          </p:spPr>
          <p:txBody>
            <a:bodyPr rtlCol="0" anchor="ctr"/>
            <a:lstStyle/>
            <a:p>
              <a:endParaRPr lang="en-GB"/>
            </a:p>
          </p:txBody>
        </p:sp>
        <p:sp>
          <p:nvSpPr>
            <p:cNvPr id="184" name="Freeform: Shape 183">
              <a:extLst>
                <a:ext uri="{FF2B5EF4-FFF2-40B4-BE49-F238E27FC236}">
                  <a16:creationId xmlns:a16="http://schemas.microsoft.com/office/drawing/2014/main" id="{9E76A325-E041-48AA-B364-77BC2CD53B35}"/>
                </a:ext>
              </a:extLst>
            </p:cNvPr>
            <p:cNvSpPr/>
            <p:nvPr/>
          </p:nvSpPr>
          <p:spPr bwMode="ltGray">
            <a:xfrm>
              <a:off x="9732009" y="4429742"/>
              <a:ext cx="74930" cy="74947"/>
            </a:xfrm>
            <a:custGeom>
              <a:avLst/>
              <a:gdLst>
                <a:gd name="connsiteX0" fmla="*/ 0 w 74930"/>
                <a:gd name="connsiteY0" fmla="*/ 37482 h 74947"/>
                <a:gd name="connsiteX1" fmla="*/ 37465 w 74930"/>
                <a:gd name="connsiteY1" fmla="*/ 74947 h 74947"/>
                <a:gd name="connsiteX2" fmla="*/ 74930 w 74930"/>
                <a:gd name="connsiteY2" fmla="*/ 37482 h 74947"/>
                <a:gd name="connsiteX3" fmla="*/ 37465 w 74930"/>
                <a:gd name="connsiteY3" fmla="*/ 17 h 74947"/>
                <a:gd name="connsiteX4" fmla="*/ 0 w 74930"/>
                <a:gd name="connsiteY4" fmla="*/ 37482 h 7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 h="74947">
                  <a:moveTo>
                    <a:pt x="0" y="37482"/>
                  </a:moveTo>
                  <a:cubicBezTo>
                    <a:pt x="0" y="58437"/>
                    <a:pt x="17145" y="74947"/>
                    <a:pt x="37465" y="74947"/>
                  </a:cubicBezTo>
                  <a:cubicBezTo>
                    <a:pt x="58420" y="74947"/>
                    <a:pt x="74930" y="57802"/>
                    <a:pt x="74930" y="37482"/>
                  </a:cubicBezTo>
                  <a:cubicBezTo>
                    <a:pt x="74930" y="16527"/>
                    <a:pt x="57785" y="17"/>
                    <a:pt x="37465" y="17"/>
                  </a:cubicBezTo>
                  <a:cubicBezTo>
                    <a:pt x="17145" y="-618"/>
                    <a:pt x="0" y="16527"/>
                    <a:pt x="0" y="37482"/>
                  </a:cubicBezTo>
                  <a:close/>
                </a:path>
              </a:pathLst>
            </a:custGeom>
            <a:solidFill>
              <a:srgbClr val="EE0C3D"/>
            </a:solidFill>
            <a:ln w="6350" cap="flat">
              <a:noFill/>
              <a:prstDash val="solid"/>
              <a:miter/>
            </a:ln>
          </p:spPr>
          <p:txBody>
            <a:bodyPr rtlCol="0" anchor="ctr"/>
            <a:lstStyle/>
            <a:p>
              <a:endParaRPr lang="en-GB"/>
            </a:p>
          </p:txBody>
        </p:sp>
        <p:sp>
          <p:nvSpPr>
            <p:cNvPr id="185" name="Freeform: Shape 184">
              <a:extLst>
                <a:ext uri="{FF2B5EF4-FFF2-40B4-BE49-F238E27FC236}">
                  <a16:creationId xmlns:a16="http://schemas.microsoft.com/office/drawing/2014/main" id="{1CCC65EB-E149-41CD-A1D3-75DC1D3B89B1}"/>
                </a:ext>
              </a:extLst>
            </p:cNvPr>
            <p:cNvSpPr/>
            <p:nvPr/>
          </p:nvSpPr>
          <p:spPr bwMode="ltGray">
            <a:xfrm>
              <a:off x="9363709" y="4427220"/>
              <a:ext cx="80009" cy="80009"/>
            </a:xfrm>
            <a:custGeom>
              <a:avLst/>
              <a:gdLst>
                <a:gd name="connsiteX0" fmla="*/ 0 w 80009"/>
                <a:gd name="connsiteY0" fmla="*/ 40005 h 80009"/>
                <a:gd name="connsiteX1" fmla="*/ 40005 w 80009"/>
                <a:gd name="connsiteY1" fmla="*/ 80010 h 80009"/>
                <a:gd name="connsiteX2" fmla="*/ 80010 w 80009"/>
                <a:gd name="connsiteY2" fmla="*/ 40005 h 80009"/>
                <a:gd name="connsiteX3" fmla="*/ 40005 w 80009"/>
                <a:gd name="connsiteY3" fmla="*/ 0 h 80009"/>
                <a:gd name="connsiteX4" fmla="*/ 0 w 80009"/>
                <a:gd name="connsiteY4" fmla="*/ 40005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0" y="40005"/>
                  </a:moveTo>
                  <a:cubicBezTo>
                    <a:pt x="0" y="62230"/>
                    <a:pt x="17780" y="80010"/>
                    <a:pt x="40005" y="80010"/>
                  </a:cubicBezTo>
                  <a:cubicBezTo>
                    <a:pt x="62230" y="80010"/>
                    <a:pt x="80010" y="62230"/>
                    <a:pt x="80010" y="40005"/>
                  </a:cubicBezTo>
                  <a:cubicBezTo>
                    <a:pt x="80010" y="17780"/>
                    <a:pt x="62230" y="0"/>
                    <a:pt x="40005" y="0"/>
                  </a:cubicBezTo>
                  <a:cubicBezTo>
                    <a:pt x="17780" y="0"/>
                    <a:pt x="0" y="17780"/>
                    <a:pt x="0" y="40005"/>
                  </a:cubicBezTo>
                  <a:close/>
                </a:path>
              </a:pathLst>
            </a:custGeom>
            <a:solidFill>
              <a:srgbClr val="EE0C3D"/>
            </a:solidFill>
            <a:ln w="6350" cap="flat">
              <a:noFill/>
              <a:prstDash val="solid"/>
              <a:miter/>
            </a:ln>
          </p:spPr>
          <p:txBody>
            <a:bodyPr rtlCol="0" anchor="ctr"/>
            <a:lstStyle/>
            <a:p>
              <a:endParaRPr lang="en-GB"/>
            </a:p>
          </p:txBody>
        </p:sp>
        <p:sp>
          <p:nvSpPr>
            <p:cNvPr id="186" name="Freeform: Shape 185">
              <a:extLst>
                <a:ext uri="{FF2B5EF4-FFF2-40B4-BE49-F238E27FC236}">
                  <a16:creationId xmlns:a16="http://schemas.microsoft.com/office/drawing/2014/main" id="{1220EE9D-4B98-4788-8D79-F680B4B15521}"/>
                </a:ext>
              </a:extLst>
            </p:cNvPr>
            <p:cNvSpPr/>
            <p:nvPr/>
          </p:nvSpPr>
          <p:spPr bwMode="ltGray">
            <a:xfrm>
              <a:off x="8998584" y="4427854"/>
              <a:ext cx="78740" cy="78740"/>
            </a:xfrm>
            <a:custGeom>
              <a:avLst/>
              <a:gdLst>
                <a:gd name="connsiteX0" fmla="*/ 0 w 78740"/>
                <a:gd name="connsiteY0" fmla="*/ 39370 h 78740"/>
                <a:gd name="connsiteX1" fmla="*/ 39370 w 78740"/>
                <a:gd name="connsiteY1" fmla="*/ 78740 h 78740"/>
                <a:gd name="connsiteX2" fmla="*/ 78740 w 78740"/>
                <a:gd name="connsiteY2" fmla="*/ 39370 h 78740"/>
                <a:gd name="connsiteX3" fmla="*/ 39370 w 78740"/>
                <a:gd name="connsiteY3" fmla="*/ 0 h 78740"/>
                <a:gd name="connsiteX4" fmla="*/ 0 w 78740"/>
                <a:gd name="connsiteY4" fmla="*/ 3937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39370"/>
                  </a:moveTo>
                  <a:cubicBezTo>
                    <a:pt x="0" y="60960"/>
                    <a:pt x="17780" y="78740"/>
                    <a:pt x="39370" y="78740"/>
                  </a:cubicBezTo>
                  <a:cubicBezTo>
                    <a:pt x="60960" y="78740"/>
                    <a:pt x="78740" y="60960"/>
                    <a:pt x="78740" y="39370"/>
                  </a:cubicBezTo>
                  <a:cubicBezTo>
                    <a:pt x="78740" y="17780"/>
                    <a:pt x="60960" y="0"/>
                    <a:pt x="39370" y="0"/>
                  </a:cubicBezTo>
                  <a:cubicBezTo>
                    <a:pt x="17780" y="0"/>
                    <a:pt x="0" y="17145"/>
                    <a:pt x="0" y="39370"/>
                  </a:cubicBezTo>
                  <a:close/>
                </a:path>
              </a:pathLst>
            </a:custGeom>
            <a:solidFill>
              <a:srgbClr val="EE0C3D"/>
            </a:solidFill>
            <a:ln w="6350" cap="flat">
              <a:noFill/>
              <a:prstDash val="solid"/>
              <a:miter/>
            </a:ln>
          </p:spPr>
          <p:txBody>
            <a:bodyPr rtlCol="0" anchor="ctr"/>
            <a:lstStyle/>
            <a:p>
              <a:endParaRPr lang="en-GB"/>
            </a:p>
          </p:txBody>
        </p:sp>
        <p:sp>
          <p:nvSpPr>
            <p:cNvPr id="187" name="Freeform: Shape 186">
              <a:extLst>
                <a:ext uri="{FF2B5EF4-FFF2-40B4-BE49-F238E27FC236}">
                  <a16:creationId xmlns:a16="http://schemas.microsoft.com/office/drawing/2014/main" id="{FA370B7E-CCD1-4EFF-A616-937380922E27}"/>
                </a:ext>
              </a:extLst>
            </p:cNvPr>
            <p:cNvSpPr/>
            <p:nvPr/>
          </p:nvSpPr>
          <p:spPr bwMode="ltGray">
            <a:xfrm>
              <a:off x="8637269" y="4432916"/>
              <a:ext cx="68580" cy="68598"/>
            </a:xfrm>
            <a:custGeom>
              <a:avLst/>
              <a:gdLst>
                <a:gd name="connsiteX0" fmla="*/ 0 w 68580"/>
                <a:gd name="connsiteY0" fmla="*/ 34309 h 68598"/>
                <a:gd name="connsiteX1" fmla="*/ 34290 w 68580"/>
                <a:gd name="connsiteY1" fmla="*/ 68599 h 68598"/>
                <a:gd name="connsiteX2" fmla="*/ 68580 w 68580"/>
                <a:gd name="connsiteY2" fmla="*/ 34309 h 68598"/>
                <a:gd name="connsiteX3" fmla="*/ 34290 w 68580"/>
                <a:gd name="connsiteY3" fmla="*/ 18 h 68598"/>
                <a:gd name="connsiteX4" fmla="*/ 0 w 68580"/>
                <a:gd name="connsiteY4" fmla="*/ 34309 h 6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8598">
                  <a:moveTo>
                    <a:pt x="0" y="34309"/>
                  </a:moveTo>
                  <a:cubicBezTo>
                    <a:pt x="0" y="53359"/>
                    <a:pt x="15240" y="68599"/>
                    <a:pt x="34290" y="68599"/>
                  </a:cubicBezTo>
                  <a:cubicBezTo>
                    <a:pt x="53340" y="68599"/>
                    <a:pt x="68580" y="53359"/>
                    <a:pt x="68580" y="34309"/>
                  </a:cubicBezTo>
                  <a:cubicBezTo>
                    <a:pt x="68580" y="15259"/>
                    <a:pt x="53340" y="18"/>
                    <a:pt x="34290" y="18"/>
                  </a:cubicBezTo>
                  <a:cubicBezTo>
                    <a:pt x="15875" y="-616"/>
                    <a:pt x="0" y="15259"/>
                    <a:pt x="0" y="34309"/>
                  </a:cubicBezTo>
                  <a:close/>
                </a:path>
              </a:pathLst>
            </a:custGeom>
            <a:solidFill>
              <a:srgbClr val="EE0C3D"/>
            </a:solidFill>
            <a:ln w="6350" cap="flat">
              <a:noFill/>
              <a:prstDash val="solid"/>
              <a:miter/>
            </a:ln>
          </p:spPr>
          <p:txBody>
            <a:bodyPr rtlCol="0" anchor="ctr"/>
            <a:lstStyle/>
            <a:p>
              <a:endParaRPr lang="en-GB"/>
            </a:p>
          </p:txBody>
        </p:sp>
        <p:sp>
          <p:nvSpPr>
            <p:cNvPr id="188" name="Freeform: Shape 187">
              <a:extLst>
                <a:ext uri="{FF2B5EF4-FFF2-40B4-BE49-F238E27FC236}">
                  <a16:creationId xmlns:a16="http://schemas.microsoft.com/office/drawing/2014/main" id="{7832FC7D-F665-4ADD-861D-B44ECA7DF95E}"/>
                </a:ext>
              </a:extLst>
            </p:cNvPr>
            <p:cNvSpPr/>
            <p:nvPr/>
          </p:nvSpPr>
          <p:spPr bwMode="ltGray">
            <a:xfrm>
              <a:off x="8278494" y="4439284"/>
              <a:ext cx="55880" cy="55245"/>
            </a:xfrm>
            <a:custGeom>
              <a:avLst/>
              <a:gdLst>
                <a:gd name="connsiteX0" fmla="*/ 27940 w 55880"/>
                <a:gd name="connsiteY0" fmla="*/ 55245 h 55245"/>
                <a:gd name="connsiteX1" fmla="*/ 55880 w 55880"/>
                <a:gd name="connsiteY1" fmla="*/ 27940 h 55245"/>
                <a:gd name="connsiteX2" fmla="*/ 27940 w 55880"/>
                <a:gd name="connsiteY2" fmla="*/ 0 h 55245"/>
                <a:gd name="connsiteX3" fmla="*/ 0 w 55880"/>
                <a:gd name="connsiteY3" fmla="*/ 27940 h 55245"/>
                <a:gd name="connsiteX4" fmla="*/ 27940 w 55880"/>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245">
                  <a:moveTo>
                    <a:pt x="27940" y="55245"/>
                  </a:moveTo>
                  <a:cubicBezTo>
                    <a:pt x="43180" y="55245"/>
                    <a:pt x="55880" y="43180"/>
                    <a:pt x="55880" y="27940"/>
                  </a:cubicBezTo>
                  <a:cubicBezTo>
                    <a:pt x="55880" y="12700"/>
                    <a:pt x="43815" y="0"/>
                    <a:pt x="27940" y="0"/>
                  </a:cubicBezTo>
                  <a:cubicBezTo>
                    <a:pt x="12065" y="0"/>
                    <a:pt x="0" y="12065"/>
                    <a:pt x="0" y="27940"/>
                  </a:cubicBezTo>
                  <a:cubicBezTo>
                    <a:pt x="0" y="43180"/>
                    <a:pt x="12700" y="55245"/>
                    <a:pt x="27940" y="55245"/>
                  </a:cubicBezTo>
                  <a:close/>
                </a:path>
              </a:pathLst>
            </a:custGeom>
            <a:solidFill>
              <a:srgbClr val="EE0C3D"/>
            </a:solidFill>
            <a:ln w="6350" cap="flat">
              <a:noFill/>
              <a:prstDash val="solid"/>
              <a:miter/>
            </a:ln>
          </p:spPr>
          <p:txBody>
            <a:bodyPr rtlCol="0" anchor="ctr"/>
            <a:lstStyle/>
            <a:p>
              <a:endParaRPr lang="en-GB"/>
            </a:p>
          </p:txBody>
        </p:sp>
        <p:sp>
          <p:nvSpPr>
            <p:cNvPr id="189" name="Freeform: Shape 188">
              <a:extLst>
                <a:ext uri="{FF2B5EF4-FFF2-40B4-BE49-F238E27FC236}">
                  <a16:creationId xmlns:a16="http://schemas.microsoft.com/office/drawing/2014/main" id="{3F6BE1B8-990B-4AFC-A478-E05838378D83}"/>
                </a:ext>
              </a:extLst>
            </p:cNvPr>
            <p:cNvSpPr/>
            <p:nvPr/>
          </p:nvSpPr>
          <p:spPr bwMode="ltGray">
            <a:xfrm>
              <a:off x="7920355" y="4446904"/>
              <a:ext cx="39369" cy="39370"/>
            </a:xfrm>
            <a:custGeom>
              <a:avLst/>
              <a:gdLst>
                <a:gd name="connsiteX0" fmla="*/ 19685 w 39369"/>
                <a:gd name="connsiteY0" fmla="*/ 39370 h 39370"/>
                <a:gd name="connsiteX1" fmla="*/ 39370 w 39369"/>
                <a:gd name="connsiteY1" fmla="*/ 19685 h 39370"/>
                <a:gd name="connsiteX2" fmla="*/ 19685 w 39369"/>
                <a:gd name="connsiteY2" fmla="*/ 0 h 39370"/>
                <a:gd name="connsiteX3" fmla="*/ 0 w 39369"/>
                <a:gd name="connsiteY3" fmla="*/ 19685 h 39370"/>
                <a:gd name="connsiteX4" fmla="*/ 19685 w 39369"/>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69" h="39370">
                  <a:moveTo>
                    <a:pt x="19685" y="39370"/>
                  </a:moveTo>
                  <a:cubicBezTo>
                    <a:pt x="30480" y="39370"/>
                    <a:pt x="39370" y="30480"/>
                    <a:pt x="39370" y="19685"/>
                  </a:cubicBezTo>
                  <a:cubicBezTo>
                    <a:pt x="39370" y="8890"/>
                    <a:pt x="30480" y="0"/>
                    <a:pt x="19685" y="0"/>
                  </a:cubicBezTo>
                  <a:cubicBezTo>
                    <a:pt x="8889" y="0"/>
                    <a:pt x="0" y="8890"/>
                    <a:pt x="0" y="19685"/>
                  </a:cubicBezTo>
                  <a:cubicBezTo>
                    <a:pt x="635" y="31115"/>
                    <a:pt x="8889" y="39370"/>
                    <a:pt x="19685" y="39370"/>
                  </a:cubicBezTo>
                  <a:close/>
                </a:path>
              </a:pathLst>
            </a:custGeom>
            <a:solidFill>
              <a:srgbClr val="EE0C3D"/>
            </a:solidFill>
            <a:ln w="6350" cap="flat">
              <a:noFill/>
              <a:prstDash val="solid"/>
              <a:miter/>
            </a:ln>
          </p:spPr>
          <p:txBody>
            <a:bodyPr rtlCol="0" anchor="ctr"/>
            <a:lstStyle/>
            <a:p>
              <a:endParaRPr lang="en-GB"/>
            </a:p>
          </p:txBody>
        </p:sp>
        <p:sp>
          <p:nvSpPr>
            <p:cNvPr id="190" name="Freeform: Shape 189">
              <a:extLst>
                <a:ext uri="{FF2B5EF4-FFF2-40B4-BE49-F238E27FC236}">
                  <a16:creationId xmlns:a16="http://schemas.microsoft.com/office/drawing/2014/main" id="{BFE9BF1B-A4E3-4ED8-8F26-8BC610660147}"/>
                </a:ext>
              </a:extLst>
            </p:cNvPr>
            <p:cNvSpPr/>
            <p:nvPr/>
          </p:nvSpPr>
          <p:spPr bwMode="ltGray">
            <a:xfrm>
              <a:off x="9752330" y="4084320"/>
              <a:ext cx="34289" cy="34289"/>
            </a:xfrm>
            <a:custGeom>
              <a:avLst/>
              <a:gdLst>
                <a:gd name="connsiteX0" fmla="*/ 34289 w 34289"/>
                <a:gd name="connsiteY0" fmla="*/ 17145 h 34289"/>
                <a:gd name="connsiteX1" fmla="*/ 17145 w 34289"/>
                <a:gd name="connsiteY1" fmla="*/ 0 h 34289"/>
                <a:gd name="connsiteX2" fmla="*/ 0 w 34289"/>
                <a:gd name="connsiteY2" fmla="*/ 17145 h 34289"/>
                <a:gd name="connsiteX3" fmla="*/ 17145 w 34289"/>
                <a:gd name="connsiteY3" fmla="*/ 34290 h 34289"/>
                <a:gd name="connsiteX4" fmla="*/ 34289 w 34289"/>
                <a:gd name="connsiteY4" fmla="*/ 17145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9" h="34289">
                  <a:moveTo>
                    <a:pt x="34289" y="17145"/>
                  </a:moveTo>
                  <a:cubicBezTo>
                    <a:pt x="34289" y="7620"/>
                    <a:pt x="26670" y="0"/>
                    <a:pt x="17145" y="0"/>
                  </a:cubicBezTo>
                  <a:cubicBezTo>
                    <a:pt x="7620" y="0"/>
                    <a:pt x="0" y="7620"/>
                    <a:pt x="0" y="17145"/>
                  </a:cubicBezTo>
                  <a:cubicBezTo>
                    <a:pt x="0" y="26670"/>
                    <a:pt x="7620" y="34290"/>
                    <a:pt x="17145" y="34290"/>
                  </a:cubicBezTo>
                  <a:cubicBezTo>
                    <a:pt x="26670" y="33655"/>
                    <a:pt x="34289" y="26035"/>
                    <a:pt x="34289" y="17145"/>
                  </a:cubicBezTo>
                  <a:close/>
                </a:path>
              </a:pathLst>
            </a:custGeom>
            <a:solidFill>
              <a:srgbClr val="EE0C3D"/>
            </a:solidFill>
            <a:ln w="6350" cap="flat">
              <a:noFill/>
              <a:prstDash val="solid"/>
              <a:miter/>
            </a:ln>
          </p:spPr>
          <p:txBody>
            <a:bodyPr rtlCol="0" anchor="ctr"/>
            <a:lstStyle/>
            <a:p>
              <a:endParaRPr lang="en-GB"/>
            </a:p>
          </p:txBody>
        </p:sp>
        <p:sp>
          <p:nvSpPr>
            <p:cNvPr id="191" name="Freeform: Shape 190">
              <a:extLst>
                <a:ext uri="{FF2B5EF4-FFF2-40B4-BE49-F238E27FC236}">
                  <a16:creationId xmlns:a16="http://schemas.microsoft.com/office/drawing/2014/main" id="{9619B62B-9C0D-4373-B582-2320994C9461}"/>
                </a:ext>
              </a:extLst>
            </p:cNvPr>
            <p:cNvSpPr/>
            <p:nvPr/>
          </p:nvSpPr>
          <p:spPr bwMode="ltGray">
            <a:xfrm>
              <a:off x="9385934" y="4083050"/>
              <a:ext cx="36830" cy="36829"/>
            </a:xfrm>
            <a:custGeom>
              <a:avLst/>
              <a:gdLst>
                <a:gd name="connsiteX0" fmla="*/ 0 w 36830"/>
                <a:gd name="connsiteY0" fmla="*/ 18415 h 36829"/>
                <a:gd name="connsiteX1" fmla="*/ 18415 w 36830"/>
                <a:gd name="connsiteY1" fmla="*/ 36830 h 36829"/>
                <a:gd name="connsiteX2" fmla="*/ 36830 w 36830"/>
                <a:gd name="connsiteY2" fmla="*/ 18415 h 36829"/>
                <a:gd name="connsiteX3" fmla="*/ 18415 w 36830"/>
                <a:gd name="connsiteY3" fmla="*/ 0 h 36829"/>
                <a:gd name="connsiteX4" fmla="*/ 0 w 36830"/>
                <a:gd name="connsiteY4" fmla="*/ 18415 h 36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30" h="36829">
                  <a:moveTo>
                    <a:pt x="0" y="18415"/>
                  </a:moveTo>
                  <a:cubicBezTo>
                    <a:pt x="0" y="28575"/>
                    <a:pt x="8255" y="36830"/>
                    <a:pt x="18415" y="36830"/>
                  </a:cubicBezTo>
                  <a:cubicBezTo>
                    <a:pt x="28575" y="36830"/>
                    <a:pt x="36830" y="28575"/>
                    <a:pt x="36830" y="18415"/>
                  </a:cubicBezTo>
                  <a:cubicBezTo>
                    <a:pt x="36830" y="8255"/>
                    <a:pt x="28575" y="0"/>
                    <a:pt x="18415" y="0"/>
                  </a:cubicBezTo>
                  <a:cubicBezTo>
                    <a:pt x="8255" y="0"/>
                    <a:pt x="0" y="8255"/>
                    <a:pt x="0" y="18415"/>
                  </a:cubicBezTo>
                  <a:close/>
                </a:path>
              </a:pathLst>
            </a:custGeom>
            <a:solidFill>
              <a:srgbClr val="EE0C3D"/>
            </a:solidFill>
            <a:ln w="6350" cap="flat">
              <a:noFill/>
              <a:prstDash val="solid"/>
              <a:miter/>
            </a:ln>
          </p:spPr>
          <p:txBody>
            <a:bodyPr rtlCol="0" anchor="ctr"/>
            <a:lstStyle/>
            <a:p>
              <a:endParaRPr lang="en-GB"/>
            </a:p>
          </p:txBody>
        </p:sp>
        <p:sp>
          <p:nvSpPr>
            <p:cNvPr id="192" name="Freeform: Shape 191">
              <a:extLst>
                <a:ext uri="{FF2B5EF4-FFF2-40B4-BE49-F238E27FC236}">
                  <a16:creationId xmlns:a16="http://schemas.microsoft.com/office/drawing/2014/main" id="{EA2B8C91-26F4-43BC-8EF9-E1F0F3F93F9C}"/>
                </a:ext>
              </a:extLst>
            </p:cNvPr>
            <p:cNvSpPr/>
            <p:nvPr/>
          </p:nvSpPr>
          <p:spPr bwMode="ltGray">
            <a:xfrm>
              <a:off x="9020175" y="4083684"/>
              <a:ext cx="35559" cy="35560"/>
            </a:xfrm>
            <a:custGeom>
              <a:avLst/>
              <a:gdLst>
                <a:gd name="connsiteX0" fmla="*/ 17780 w 35559"/>
                <a:gd name="connsiteY0" fmla="*/ 0 h 35560"/>
                <a:gd name="connsiteX1" fmla="*/ 0 w 35559"/>
                <a:gd name="connsiteY1" fmla="*/ 17780 h 35560"/>
                <a:gd name="connsiteX2" fmla="*/ 17780 w 35559"/>
                <a:gd name="connsiteY2" fmla="*/ 35560 h 35560"/>
                <a:gd name="connsiteX3" fmla="*/ 35560 w 35559"/>
                <a:gd name="connsiteY3" fmla="*/ 17780 h 35560"/>
                <a:gd name="connsiteX4" fmla="*/ 17780 w 35559"/>
                <a:gd name="connsiteY4" fmla="*/ 0 h 3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9" h="35560">
                  <a:moveTo>
                    <a:pt x="17780" y="0"/>
                  </a:moveTo>
                  <a:cubicBezTo>
                    <a:pt x="8255" y="0"/>
                    <a:pt x="0" y="7620"/>
                    <a:pt x="0" y="17780"/>
                  </a:cubicBezTo>
                  <a:cubicBezTo>
                    <a:pt x="0" y="27305"/>
                    <a:pt x="7620" y="35560"/>
                    <a:pt x="17780" y="35560"/>
                  </a:cubicBezTo>
                  <a:cubicBezTo>
                    <a:pt x="27940" y="35560"/>
                    <a:pt x="35560" y="27940"/>
                    <a:pt x="35560" y="17780"/>
                  </a:cubicBezTo>
                  <a:cubicBezTo>
                    <a:pt x="35560" y="7620"/>
                    <a:pt x="27305" y="0"/>
                    <a:pt x="17780" y="0"/>
                  </a:cubicBezTo>
                  <a:close/>
                </a:path>
              </a:pathLst>
            </a:custGeom>
            <a:solidFill>
              <a:srgbClr val="EE0C3D"/>
            </a:solidFill>
            <a:ln w="6350" cap="flat">
              <a:noFill/>
              <a:prstDash val="solid"/>
              <a:miter/>
            </a:ln>
          </p:spPr>
          <p:txBody>
            <a:bodyPr rtlCol="0" anchor="ctr"/>
            <a:lstStyle/>
            <a:p>
              <a:endParaRPr lang="en-GB"/>
            </a:p>
          </p:txBody>
        </p:sp>
        <p:sp>
          <p:nvSpPr>
            <p:cNvPr id="193" name="Freeform: Shape 192">
              <a:extLst>
                <a:ext uri="{FF2B5EF4-FFF2-40B4-BE49-F238E27FC236}">
                  <a16:creationId xmlns:a16="http://schemas.microsoft.com/office/drawing/2014/main" id="{F9158478-82D0-448F-A943-DE7A40771237}"/>
                </a:ext>
              </a:extLst>
            </p:cNvPr>
            <p:cNvSpPr/>
            <p:nvPr/>
          </p:nvSpPr>
          <p:spPr bwMode="ltGray">
            <a:xfrm>
              <a:off x="8656319" y="4085590"/>
              <a:ext cx="31750" cy="31750"/>
            </a:xfrm>
            <a:custGeom>
              <a:avLst/>
              <a:gdLst>
                <a:gd name="connsiteX0" fmla="*/ 31750 w 31750"/>
                <a:gd name="connsiteY0" fmla="*/ 15875 h 31750"/>
                <a:gd name="connsiteX1" fmla="*/ 15875 w 31750"/>
                <a:gd name="connsiteY1" fmla="*/ 0 h 31750"/>
                <a:gd name="connsiteX2" fmla="*/ 0 w 31750"/>
                <a:gd name="connsiteY2" fmla="*/ 15875 h 31750"/>
                <a:gd name="connsiteX3" fmla="*/ 15875 w 31750"/>
                <a:gd name="connsiteY3" fmla="*/ 31750 h 31750"/>
                <a:gd name="connsiteX4" fmla="*/ 31750 w 31750"/>
                <a:gd name="connsiteY4" fmla="*/ 15875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31750" y="15875"/>
                  </a:moveTo>
                  <a:cubicBezTo>
                    <a:pt x="31750" y="6985"/>
                    <a:pt x="24765" y="0"/>
                    <a:pt x="15875" y="0"/>
                  </a:cubicBezTo>
                  <a:cubicBezTo>
                    <a:pt x="6986" y="0"/>
                    <a:pt x="0" y="6985"/>
                    <a:pt x="0" y="15875"/>
                  </a:cubicBezTo>
                  <a:cubicBezTo>
                    <a:pt x="0" y="24765"/>
                    <a:pt x="6986" y="31750"/>
                    <a:pt x="15875" y="31750"/>
                  </a:cubicBezTo>
                  <a:cubicBezTo>
                    <a:pt x="24130" y="31115"/>
                    <a:pt x="31750" y="24130"/>
                    <a:pt x="31750" y="15875"/>
                  </a:cubicBezTo>
                  <a:close/>
                </a:path>
              </a:pathLst>
            </a:custGeom>
            <a:solidFill>
              <a:srgbClr val="EE0C3D"/>
            </a:solidFill>
            <a:ln w="6350" cap="flat">
              <a:noFill/>
              <a:prstDash val="solid"/>
              <a:miter/>
            </a:ln>
          </p:spPr>
          <p:txBody>
            <a:bodyPr rtlCol="0" anchor="ctr"/>
            <a:lstStyle/>
            <a:p>
              <a:endParaRPr lang="en-GB"/>
            </a:p>
          </p:txBody>
        </p:sp>
        <p:sp>
          <p:nvSpPr>
            <p:cNvPr id="194" name="Freeform: Shape 193">
              <a:extLst>
                <a:ext uri="{FF2B5EF4-FFF2-40B4-BE49-F238E27FC236}">
                  <a16:creationId xmlns:a16="http://schemas.microsoft.com/office/drawing/2014/main" id="{277B97F5-FD94-4E2C-8021-537DCA3F9EF7}"/>
                </a:ext>
              </a:extLst>
            </p:cNvPr>
            <p:cNvSpPr/>
            <p:nvPr/>
          </p:nvSpPr>
          <p:spPr bwMode="ltGray">
            <a:xfrm>
              <a:off x="81914" y="6521450"/>
              <a:ext cx="299719" cy="299719"/>
            </a:xfrm>
            <a:custGeom>
              <a:avLst/>
              <a:gdLst>
                <a:gd name="connsiteX0" fmla="*/ 149860 w 299719"/>
                <a:gd name="connsiteY0" fmla="*/ 0 h 299719"/>
                <a:gd name="connsiteX1" fmla="*/ 0 w 299719"/>
                <a:gd name="connsiteY1" fmla="*/ 149860 h 299719"/>
                <a:gd name="connsiteX2" fmla="*/ 149860 w 299719"/>
                <a:gd name="connsiteY2" fmla="*/ 299720 h 299719"/>
                <a:gd name="connsiteX3" fmla="*/ 299720 w 299719"/>
                <a:gd name="connsiteY3" fmla="*/ 149860 h 299719"/>
                <a:gd name="connsiteX4" fmla="*/ 149860 w 299719"/>
                <a:gd name="connsiteY4" fmla="*/ 0 h 29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19" h="299719">
                  <a:moveTo>
                    <a:pt x="149860" y="0"/>
                  </a:moveTo>
                  <a:cubicBezTo>
                    <a:pt x="67310" y="0"/>
                    <a:pt x="0" y="67310"/>
                    <a:pt x="0" y="149860"/>
                  </a:cubicBezTo>
                  <a:cubicBezTo>
                    <a:pt x="0" y="232410"/>
                    <a:pt x="67310" y="299720"/>
                    <a:pt x="149860" y="299720"/>
                  </a:cubicBezTo>
                  <a:cubicBezTo>
                    <a:pt x="232410" y="299720"/>
                    <a:pt x="299720" y="232410"/>
                    <a:pt x="299720" y="149860"/>
                  </a:cubicBezTo>
                  <a:cubicBezTo>
                    <a:pt x="299720" y="67310"/>
                    <a:pt x="232410" y="0"/>
                    <a:pt x="149860" y="0"/>
                  </a:cubicBezTo>
                  <a:close/>
                </a:path>
              </a:pathLst>
            </a:custGeom>
            <a:solidFill>
              <a:srgbClr val="2E4DF9"/>
            </a:solidFill>
            <a:ln w="6350" cap="flat">
              <a:noFill/>
              <a:prstDash val="solid"/>
              <a:miter/>
            </a:ln>
          </p:spPr>
          <p:txBody>
            <a:bodyPr rtlCol="0" anchor="ctr"/>
            <a:lstStyle/>
            <a:p>
              <a:endParaRPr lang="en-GB"/>
            </a:p>
          </p:txBody>
        </p:sp>
        <p:sp>
          <p:nvSpPr>
            <p:cNvPr id="195" name="Freeform: Shape 194">
              <a:extLst>
                <a:ext uri="{FF2B5EF4-FFF2-40B4-BE49-F238E27FC236}">
                  <a16:creationId xmlns:a16="http://schemas.microsoft.com/office/drawing/2014/main" id="{4E28BC07-84B3-40B1-8AB1-02342BF89FF0}"/>
                </a:ext>
              </a:extLst>
            </p:cNvPr>
            <p:cNvSpPr/>
            <p:nvPr/>
          </p:nvSpPr>
          <p:spPr bwMode="ltGray">
            <a:xfrm rot="20802852">
              <a:off x="92348" y="6165509"/>
              <a:ext cx="279389" cy="279389"/>
            </a:xfrm>
            <a:custGeom>
              <a:avLst/>
              <a:gdLst>
                <a:gd name="connsiteX0" fmla="*/ 279390 w 279389"/>
                <a:gd name="connsiteY0" fmla="*/ 139695 h 279389"/>
                <a:gd name="connsiteX1" fmla="*/ 139695 w 279389"/>
                <a:gd name="connsiteY1" fmla="*/ 279390 h 279389"/>
                <a:gd name="connsiteX2" fmla="*/ 0 w 279389"/>
                <a:gd name="connsiteY2" fmla="*/ 139695 h 279389"/>
                <a:gd name="connsiteX3" fmla="*/ 139695 w 279389"/>
                <a:gd name="connsiteY3" fmla="*/ 0 h 279389"/>
                <a:gd name="connsiteX4" fmla="*/ 279390 w 279389"/>
                <a:gd name="connsiteY4" fmla="*/ 139695 h 279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89" h="279389">
                  <a:moveTo>
                    <a:pt x="279390" y="139695"/>
                  </a:moveTo>
                  <a:cubicBezTo>
                    <a:pt x="279390" y="216846"/>
                    <a:pt x="216846" y="279390"/>
                    <a:pt x="139695" y="279390"/>
                  </a:cubicBezTo>
                  <a:cubicBezTo>
                    <a:pt x="62544" y="279390"/>
                    <a:pt x="0" y="216846"/>
                    <a:pt x="0" y="139695"/>
                  </a:cubicBezTo>
                  <a:cubicBezTo>
                    <a:pt x="0" y="62543"/>
                    <a:pt x="62544" y="0"/>
                    <a:pt x="139695" y="0"/>
                  </a:cubicBezTo>
                  <a:cubicBezTo>
                    <a:pt x="216846" y="0"/>
                    <a:pt x="279390" y="62543"/>
                    <a:pt x="279390" y="139695"/>
                  </a:cubicBezTo>
                  <a:close/>
                </a:path>
              </a:pathLst>
            </a:custGeom>
            <a:solidFill>
              <a:srgbClr val="2E4DF9"/>
            </a:solidFill>
            <a:ln w="6350" cap="flat">
              <a:noFill/>
              <a:prstDash val="solid"/>
              <a:miter/>
            </a:ln>
          </p:spPr>
          <p:txBody>
            <a:bodyPr rtlCol="0" anchor="ctr"/>
            <a:lstStyle/>
            <a:p>
              <a:endParaRPr lang="en-GB"/>
            </a:p>
          </p:txBody>
        </p:sp>
        <p:sp>
          <p:nvSpPr>
            <p:cNvPr id="196" name="Freeform: Shape 195">
              <a:extLst>
                <a:ext uri="{FF2B5EF4-FFF2-40B4-BE49-F238E27FC236}">
                  <a16:creationId xmlns:a16="http://schemas.microsoft.com/office/drawing/2014/main" id="{692FAB03-AA27-4C8D-93A4-0E5198B9AD2A}"/>
                </a:ext>
              </a:extLst>
            </p:cNvPr>
            <p:cNvSpPr/>
            <p:nvPr/>
          </p:nvSpPr>
          <p:spPr bwMode="ltGray">
            <a:xfrm>
              <a:off x="110489" y="5818504"/>
              <a:ext cx="242569" cy="242570"/>
            </a:xfrm>
            <a:custGeom>
              <a:avLst/>
              <a:gdLst>
                <a:gd name="connsiteX0" fmla="*/ 121285 w 242569"/>
                <a:gd name="connsiteY0" fmla="*/ 242570 h 242570"/>
                <a:gd name="connsiteX1" fmla="*/ 242570 w 242569"/>
                <a:gd name="connsiteY1" fmla="*/ 121285 h 242570"/>
                <a:gd name="connsiteX2" fmla="*/ 121285 w 242569"/>
                <a:gd name="connsiteY2" fmla="*/ 0 h 242570"/>
                <a:gd name="connsiteX3" fmla="*/ 0 w 242569"/>
                <a:gd name="connsiteY3" fmla="*/ 121285 h 242570"/>
                <a:gd name="connsiteX4" fmla="*/ 121285 w 242569"/>
                <a:gd name="connsiteY4" fmla="*/ 24257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242570"/>
                  </a:moveTo>
                  <a:cubicBezTo>
                    <a:pt x="187960" y="242570"/>
                    <a:pt x="242570" y="188595"/>
                    <a:pt x="242570" y="121285"/>
                  </a:cubicBezTo>
                  <a:cubicBezTo>
                    <a:pt x="242570" y="54610"/>
                    <a:pt x="188595" y="0"/>
                    <a:pt x="121285" y="0"/>
                  </a:cubicBezTo>
                  <a:cubicBezTo>
                    <a:pt x="53975" y="0"/>
                    <a:pt x="0" y="53975"/>
                    <a:pt x="0" y="121285"/>
                  </a:cubicBezTo>
                  <a:cubicBezTo>
                    <a:pt x="0" y="187960"/>
                    <a:pt x="53975" y="242570"/>
                    <a:pt x="121285" y="242570"/>
                  </a:cubicBezTo>
                  <a:close/>
                </a:path>
              </a:pathLst>
            </a:custGeom>
            <a:solidFill>
              <a:srgbClr val="2E4DF9"/>
            </a:solidFill>
            <a:ln w="6350" cap="flat">
              <a:noFill/>
              <a:prstDash val="solid"/>
              <a:miter/>
            </a:ln>
          </p:spPr>
          <p:txBody>
            <a:bodyPr rtlCol="0" anchor="ctr"/>
            <a:lstStyle/>
            <a:p>
              <a:endParaRPr lang="en-GB"/>
            </a:p>
          </p:txBody>
        </p:sp>
        <p:sp>
          <p:nvSpPr>
            <p:cNvPr id="197" name="Freeform: Shape 196">
              <a:extLst>
                <a:ext uri="{FF2B5EF4-FFF2-40B4-BE49-F238E27FC236}">
                  <a16:creationId xmlns:a16="http://schemas.microsoft.com/office/drawing/2014/main" id="{423D2E4E-62EA-43E7-B35A-58BED98BE7FF}"/>
                </a:ext>
              </a:extLst>
            </p:cNvPr>
            <p:cNvSpPr/>
            <p:nvPr/>
          </p:nvSpPr>
          <p:spPr bwMode="ltGray">
            <a:xfrm>
              <a:off x="136525" y="5478779"/>
              <a:ext cx="190500" cy="190500"/>
            </a:xfrm>
            <a:custGeom>
              <a:avLst/>
              <a:gdLst>
                <a:gd name="connsiteX0" fmla="*/ 95250 w 190500"/>
                <a:gd name="connsiteY0" fmla="*/ 190500 h 190500"/>
                <a:gd name="connsiteX1" fmla="*/ 190500 w 190500"/>
                <a:gd name="connsiteY1" fmla="*/ 95250 h 190500"/>
                <a:gd name="connsiteX2" fmla="*/ 95250 w 190500"/>
                <a:gd name="connsiteY2" fmla="*/ 0 h 190500"/>
                <a:gd name="connsiteX3" fmla="*/ 0 w 190500"/>
                <a:gd name="connsiteY3" fmla="*/ 95250 h 190500"/>
                <a:gd name="connsiteX4" fmla="*/ 95250 w 190500"/>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95250" y="190500"/>
                  </a:moveTo>
                  <a:cubicBezTo>
                    <a:pt x="147955" y="190500"/>
                    <a:pt x="190500" y="147955"/>
                    <a:pt x="190500" y="95250"/>
                  </a:cubicBezTo>
                  <a:cubicBezTo>
                    <a:pt x="190500" y="42545"/>
                    <a:pt x="147955" y="0"/>
                    <a:pt x="95250" y="0"/>
                  </a:cubicBezTo>
                  <a:cubicBezTo>
                    <a:pt x="42545" y="0"/>
                    <a:pt x="0" y="42545"/>
                    <a:pt x="0" y="95250"/>
                  </a:cubicBezTo>
                  <a:cubicBezTo>
                    <a:pt x="0" y="147955"/>
                    <a:pt x="42545" y="190500"/>
                    <a:pt x="95250" y="190500"/>
                  </a:cubicBezTo>
                  <a:close/>
                </a:path>
              </a:pathLst>
            </a:custGeom>
            <a:solidFill>
              <a:srgbClr val="2E4DF9"/>
            </a:solidFill>
            <a:ln w="6350" cap="flat">
              <a:noFill/>
              <a:prstDash val="solid"/>
              <a:miter/>
            </a:ln>
          </p:spPr>
          <p:txBody>
            <a:bodyPr rtlCol="0" anchor="ctr"/>
            <a:lstStyle/>
            <a:p>
              <a:endParaRPr lang="en-GB"/>
            </a:p>
          </p:txBody>
        </p:sp>
        <p:sp>
          <p:nvSpPr>
            <p:cNvPr id="198" name="Freeform: Shape 197">
              <a:extLst>
                <a:ext uri="{FF2B5EF4-FFF2-40B4-BE49-F238E27FC236}">
                  <a16:creationId xmlns:a16="http://schemas.microsoft.com/office/drawing/2014/main" id="{A62CC361-8FBE-4006-A750-A625E7847304}"/>
                </a:ext>
              </a:extLst>
            </p:cNvPr>
            <p:cNvSpPr/>
            <p:nvPr/>
          </p:nvSpPr>
          <p:spPr bwMode="ltGray">
            <a:xfrm>
              <a:off x="166370" y="5142229"/>
              <a:ext cx="130809" cy="130810"/>
            </a:xfrm>
            <a:custGeom>
              <a:avLst/>
              <a:gdLst>
                <a:gd name="connsiteX0" fmla="*/ 65405 w 130809"/>
                <a:gd name="connsiteY0" fmla="*/ 130810 h 130810"/>
                <a:gd name="connsiteX1" fmla="*/ 130810 w 130809"/>
                <a:gd name="connsiteY1" fmla="*/ 65405 h 130810"/>
                <a:gd name="connsiteX2" fmla="*/ 65405 w 130809"/>
                <a:gd name="connsiteY2" fmla="*/ 0 h 130810"/>
                <a:gd name="connsiteX3" fmla="*/ 0 w 130809"/>
                <a:gd name="connsiteY3" fmla="*/ 65405 h 130810"/>
                <a:gd name="connsiteX4" fmla="*/ 65405 w 130809"/>
                <a:gd name="connsiteY4" fmla="*/ 130810 h 13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09" h="130810">
                  <a:moveTo>
                    <a:pt x="65405" y="130810"/>
                  </a:moveTo>
                  <a:cubicBezTo>
                    <a:pt x="101600" y="130810"/>
                    <a:pt x="130810" y="101600"/>
                    <a:pt x="130810" y="65405"/>
                  </a:cubicBezTo>
                  <a:cubicBezTo>
                    <a:pt x="130810" y="29210"/>
                    <a:pt x="101600" y="0"/>
                    <a:pt x="65405" y="0"/>
                  </a:cubicBezTo>
                  <a:cubicBezTo>
                    <a:pt x="29210" y="0"/>
                    <a:pt x="0" y="29210"/>
                    <a:pt x="0" y="65405"/>
                  </a:cubicBezTo>
                  <a:cubicBezTo>
                    <a:pt x="0" y="101600"/>
                    <a:pt x="29210" y="130810"/>
                    <a:pt x="65405" y="130810"/>
                  </a:cubicBezTo>
                  <a:close/>
                </a:path>
              </a:pathLst>
            </a:custGeom>
            <a:solidFill>
              <a:srgbClr val="2E4DF9"/>
            </a:solidFill>
            <a:ln w="6350" cap="flat">
              <a:noFill/>
              <a:prstDash val="solid"/>
              <a:miter/>
            </a:ln>
          </p:spPr>
          <p:txBody>
            <a:bodyPr rtlCol="0" anchor="ctr"/>
            <a:lstStyle/>
            <a:p>
              <a:endParaRPr lang="en-GB"/>
            </a:p>
          </p:txBody>
        </p:sp>
        <p:sp>
          <p:nvSpPr>
            <p:cNvPr id="199" name="Freeform: Shape 198">
              <a:extLst>
                <a:ext uri="{FF2B5EF4-FFF2-40B4-BE49-F238E27FC236}">
                  <a16:creationId xmlns:a16="http://schemas.microsoft.com/office/drawing/2014/main" id="{C8D7D5EB-61BA-4412-A828-88101E0F104C}"/>
                </a:ext>
              </a:extLst>
            </p:cNvPr>
            <p:cNvSpPr/>
            <p:nvPr/>
          </p:nvSpPr>
          <p:spPr bwMode="ltGray">
            <a:xfrm>
              <a:off x="195562" y="4806315"/>
              <a:ext cx="72407" cy="72389"/>
            </a:xfrm>
            <a:custGeom>
              <a:avLst/>
              <a:gdLst>
                <a:gd name="connsiteX0" fmla="*/ 36213 w 72407"/>
                <a:gd name="connsiteY0" fmla="*/ 72390 h 72389"/>
                <a:gd name="connsiteX1" fmla="*/ 72408 w 72407"/>
                <a:gd name="connsiteY1" fmla="*/ 36195 h 72389"/>
                <a:gd name="connsiteX2" fmla="*/ 36213 w 72407"/>
                <a:gd name="connsiteY2" fmla="*/ 0 h 72389"/>
                <a:gd name="connsiteX3" fmla="*/ 18 w 72407"/>
                <a:gd name="connsiteY3" fmla="*/ 36195 h 72389"/>
                <a:gd name="connsiteX4" fmla="*/ 36213 w 72407"/>
                <a:gd name="connsiteY4" fmla="*/ 72390 h 72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07" h="72389">
                  <a:moveTo>
                    <a:pt x="36213" y="72390"/>
                  </a:moveTo>
                  <a:cubicBezTo>
                    <a:pt x="56533" y="72390"/>
                    <a:pt x="72408" y="55880"/>
                    <a:pt x="72408" y="36195"/>
                  </a:cubicBezTo>
                  <a:cubicBezTo>
                    <a:pt x="72408" y="15875"/>
                    <a:pt x="55898" y="0"/>
                    <a:pt x="36213" y="0"/>
                  </a:cubicBezTo>
                  <a:cubicBezTo>
                    <a:pt x="15893" y="0"/>
                    <a:pt x="18" y="16510"/>
                    <a:pt x="18" y="36195"/>
                  </a:cubicBezTo>
                  <a:cubicBezTo>
                    <a:pt x="-617" y="55880"/>
                    <a:pt x="15893" y="72390"/>
                    <a:pt x="36213" y="72390"/>
                  </a:cubicBezTo>
                  <a:close/>
                </a:path>
              </a:pathLst>
            </a:custGeom>
            <a:solidFill>
              <a:srgbClr val="2E4DF9"/>
            </a:solidFill>
            <a:ln w="6350" cap="flat">
              <a:noFill/>
              <a:prstDash val="solid"/>
              <a:miter/>
            </a:ln>
          </p:spPr>
          <p:txBody>
            <a:bodyPr rtlCol="0" anchor="ctr"/>
            <a:lstStyle/>
            <a:p>
              <a:endParaRPr lang="en-GB"/>
            </a:p>
          </p:txBody>
        </p:sp>
        <p:sp>
          <p:nvSpPr>
            <p:cNvPr id="200" name="Freeform: Shape 199">
              <a:extLst>
                <a:ext uri="{FF2B5EF4-FFF2-40B4-BE49-F238E27FC236}">
                  <a16:creationId xmlns:a16="http://schemas.microsoft.com/office/drawing/2014/main" id="{2491E348-D6C2-4C0A-AAC6-3B2DF41A6B51}"/>
                </a:ext>
              </a:extLst>
            </p:cNvPr>
            <p:cNvSpPr/>
            <p:nvPr/>
          </p:nvSpPr>
          <p:spPr bwMode="ltGray">
            <a:xfrm>
              <a:off x="214629" y="4458970"/>
              <a:ext cx="34290" cy="34289"/>
            </a:xfrm>
            <a:custGeom>
              <a:avLst/>
              <a:gdLst>
                <a:gd name="connsiteX0" fmla="*/ 17145 w 34290"/>
                <a:gd name="connsiteY0" fmla="*/ 34290 h 34289"/>
                <a:gd name="connsiteX1" fmla="*/ 34290 w 34290"/>
                <a:gd name="connsiteY1" fmla="*/ 17145 h 34289"/>
                <a:gd name="connsiteX2" fmla="*/ 17145 w 34290"/>
                <a:gd name="connsiteY2" fmla="*/ 0 h 34289"/>
                <a:gd name="connsiteX3" fmla="*/ 0 w 34290"/>
                <a:gd name="connsiteY3" fmla="*/ 17145 h 34289"/>
                <a:gd name="connsiteX4" fmla="*/ 17145 w 34290"/>
                <a:gd name="connsiteY4" fmla="*/ 34290 h 34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4289">
                  <a:moveTo>
                    <a:pt x="17145" y="34290"/>
                  </a:moveTo>
                  <a:cubicBezTo>
                    <a:pt x="26670" y="34290"/>
                    <a:pt x="34290" y="26670"/>
                    <a:pt x="34290" y="17145"/>
                  </a:cubicBezTo>
                  <a:cubicBezTo>
                    <a:pt x="34290" y="7620"/>
                    <a:pt x="26670" y="0"/>
                    <a:pt x="17145" y="0"/>
                  </a:cubicBezTo>
                  <a:cubicBezTo>
                    <a:pt x="7620" y="0"/>
                    <a:pt x="0" y="7620"/>
                    <a:pt x="0" y="17145"/>
                  </a:cubicBezTo>
                  <a:cubicBezTo>
                    <a:pt x="0" y="26670"/>
                    <a:pt x="7620" y="34290"/>
                    <a:pt x="17145" y="34290"/>
                  </a:cubicBezTo>
                  <a:close/>
                </a:path>
              </a:pathLst>
            </a:custGeom>
            <a:solidFill>
              <a:srgbClr val="2E4DF9"/>
            </a:solidFill>
            <a:ln w="6350" cap="flat">
              <a:noFill/>
              <a:prstDash val="solid"/>
              <a:miter/>
            </a:ln>
          </p:spPr>
          <p:txBody>
            <a:bodyPr rtlCol="0" anchor="ctr"/>
            <a:lstStyle/>
            <a:p>
              <a:endParaRPr lang="en-GB"/>
            </a:p>
          </p:txBody>
        </p:sp>
        <p:sp>
          <p:nvSpPr>
            <p:cNvPr id="201" name="Freeform: Shape 200">
              <a:extLst>
                <a:ext uri="{FF2B5EF4-FFF2-40B4-BE49-F238E27FC236}">
                  <a16:creationId xmlns:a16="http://schemas.microsoft.com/office/drawing/2014/main" id="{138F84A4-58D2-4338-866E-E40B4E5C0FDF}"/>
                </a:ext>
              </a:extLst>
            </p:cNvPr>
            <p:cNvSpPr/>
            <p:nvPr/>
          </p:nvSpPr>
          <p:spPr bwMode="ltGray">
            <a:xfrm>
              <a:off x="457834" y="6531609"/>
              <a:ext cx="279400" cy="279400"/>
            </a:xfrm>
            <a:custGeom>
              <a:avLst/>
              <a:gdLst>
                <a:gd name="connsiteX0" fmla="*/ 139700 w 279400"/>
                <a:gd name="connsiteY0" fmla="*/ 0 h 279400"/>
                <a:gd name="connsiteX1" fmla="*/ 0 w 279400"/>
                <a:gd name="connsiteY1" fmla="*/ 139700 h 279400"/>
                <a:gd name="connsiteX2" fmla="*/ 139700 w 279400"/>
                <a:gd name="connsiteY2" fmla="*/ 279400 h 279400"/>
                <a:gd name="connsiteX3" fmla="*/ 279400 w 279400"/>
                <a:gd name="connsiteY3" fmla="*/ 139700 h 279400"/>
                <a:gd name="connsiteX4" fmla="*/ 139700 w 279400"/>
                <a:gd name="connsiteY4" fmla="*/ 0 h 27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279400">
                  <a:moveTo>
                    <a:pt x="139700" y="0"/>
                  </a:moveTo>
                  <a:cubicBezTo>
                    <a:pt x="62230" y="0"/>
                    <a:pt x="0" y="62865"/>
                    <a:pt x="0" y="139700"/>
                  </a:cubicBezTo>
                  <a:cubicBezTo>
                    <a:pt x="0" y="216535"/>
                    <a:pt x="62865" y="279400"/>
                    <a:pt x="139700" y="279400"/>
                  </a:cubicBezTo>
                  <a:cubicBezTo>
                    <a:pt x="217170" y="279400"/>
                    <a:pt x="279400" y="216535"/>
                    <a:pt x="279400" y="139700"/>
                  </a:cubicBezTo>
                  <a:cubicBezTo>
                    <a:pt x="279400" y="62865"/>
                    <a:pt x="217170" y="0"/>
                    <a:pt x="139700" y="0"/>
                  </a:cubicBezTo>
                  <a:close/>
                </a:path>
              </a:pathLst>
            </a:custGeom>
            <a:solidFill>
              <a:srgbClr val="2E4DF9"/>
            </a:solidFill>
            <a:ln w="6350" cap="flat">
              <a:noFill/>
              <a:prstDash val="solid"/>
              <a:miter/>
            </a:ln>
          </p:spPr>
          <p:txBody>
            <a:bodyPr rtlCol="0" anchor="ctr"/>
            <a:lstStyle/>
            <a:p>
              <a:endParaRPr lang="en-GB"/>
            </a:p>
          </p:txBody>
        </p:sp>
        <p:sp>
          <p:nvSpPr>
            <p:cNvPr id="202" name="Freeform: Shape 201">
              <a:extLst>
                <a:ext uri="{FF2B5EF4-FFF2-40B4-BE49-F238E27FC236}">
                  <a16:creationId xmlns:a16="http://schemas.microsoft.com/office/drawing/2014/main" id="{820DD35A-7898-4614-BDF0-B8D254E38794}"/>
                </a:ext>
              </a:extLst>
            </p:cNvPr>
            <p:cNvSpPr/>
            <p:nvPr/>
          </p:nvSpPr>
          <p:spPr bwMode="ltGray">
            <a:xfrm>
              <a:off x="469264" y="6177280"/>
              <a:ext cx="256540" cy="256540"/>
            </a:xfrm>
            <a:custGeom>
              <a:avLst/>
              <a:gdLst>
                <a:gd name="connsiteX0" fmla="*/ 256540 w 256540"/>
                <a:gd name="connsiteY0" fmla="*/ 128270 h 256540"/>
                <a:gd name="connsiteX1" fmla="*/ 128270 w 256540"/>
                <a:gd name="connsiteY1" fmla="*/ 256540 h 256540"/>
                <a:gd name="connsiteX2" fmla="*/ 0 w 256540"/>
                <a:gd name="connsiteY2" fmla="*/ 128270 h 256540"/>
                <a:gd name="connsiteX3" fmla="*/ 128270 w 256540"/>
                <a:gd name="connsiteY3" fmla="*/ 0 h 256540"/>
                <a:gd name="connsiteX4" fmla="*/ 256540 w 256540"/>
                <a:gd name="connsiteY4" fmla="*/ 128270 h 25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40" h="256540">
                  <a:moveTo>
                    <a:pt x="256540" y="128270"/>
                  </a:moveTo>
                  <a:cubicBezTo>
                    <a:pt x="256540" y="199111"/>
                    <a:pt x="199112" y="256540"/>
                    <a:pt x="128270" y="256540"/>
                  </a:cubicBezTo>
                  <a:cubicBezTo>
                    <a:pt x="57428" y="256540"/>
                    <a:pt x="0" y="199112"/>
                    <a:pt x="0" y="128270"/>
                  </a:cubicBezTo>
                  <a:cubicBezTo>
                    <a:pt x="0" y="57429"/>
                    <a:pt x="57428" y="0"/>
                    <a:pt x="128270" y="0"/>
                  </a:cubicBezTo>
                  <a:cubicBezTo>
                    <a:pt x="199112" y="0"/>
                    <a:pt x="256540" y="57428"/>
                    <a:pt x="256540" y="128270"/>
                  </a:cubicBezTo>
                  <a:close/>
                </a:path>
              </a:pathLst>
            </a:custGeom>
            <a:solidFill>
              <a:srgbClr val="2E4DF9"/>
            </a:solidFill>
            <a:ln w="6350"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1FE98CD3-D1C2-4469-9500-76738C32E0B0}"/>
                </a:ext>
              </a:extLst>
            </p:cNvPr>
            <p:cNvSpPr/>
            <p:nvPr/>
          </p:nvSpPr>
          <p:spPr bwMode="ltGray">
            <a:xfrm>
              <a:off x="490855" y="5833109"/>
              <a:ext cx="213359" cy="213360"/>
            </a:xfrm>
            <a:custGeom>
              <a:avLst/>
              <a:gdLst>
                <a:gd name="connsiteX0" fmla="*/ 106680 w 213359"/>
                <a:gd name="connsiteY0" fmla="*/ 213360 h 213360"/>
                <a:gd name="connsiteX1" fmla="*/ 213360 w 213359"/>
                <a:gd name="connsiteY1" fmla="*/ 106680 h 213360"/>
                <a:gd name="connsiteX2" fmla="*/ 106680 w 213359"/>
                <a:gd name="connsiteY2" fmla="*/ 0 h 213360"/>
                <a:gd name="connsiteX3" fmla="*/ 0 w 213359"/>
                <a:gd name="connsiteY3" fmla="*/ 106680 h 213360"/>
                <a:gd name="connsiteX4" fmla="*/ 106680 w 213359"/>
                <a:gd name="connsiteY4" fmla="*/ 2133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13360">
                  <a:moveTo>
                    <a:pt x="106680" y="213360"/>
                  </a:moveTo>
                  <a:cubicBezTo>
                    <a:pt x="165735" y="213360"/>
                    <a:pt x="213360" y="165735"/>
                    <a:pt x="213360" y="106680"/>
                  </a:cubicBezTo>
                  <a:cubicBezTo>
                    <a:pt x="213360" y="47625"/>
                    <a:pt x="165735" y="0"/>
                    <a:pt x="106680" y="0"/>
                  </a:cubicBezTo>
                  <a:cubicBezTo>
                    <a:pt x="47625" y="0"/>
                    <a:pt x="0" y="47625"/>
                    <a:pt x="0" y="106680"/>
                  </a:cubicBezTo>
                  <a:cubicBezTo>
                    <a:pt x="0" y="165735"/>
                    <a:pt x="47625" y="213360"/>
                    <a:pt x="106680" y="213360"/>
                  </a:cubicBezTo>
                  <a:close/>
                </a:path>
              </a:pathLst>
            </a:custGeom>
            <a:solidFill>
              <a:srgbClr val="2E4DF9"/>
            </a:solidFill>
            <a:ln w="6350"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DF9F1BEB-651C-412A-86ED-2B8C40C224C8}"/>
                </a:ext>
              </a:extLst>
            </p:cNvPr>
            <p:cNvSpPr/>
            <p:nvPr/>
          </p:nvSpPr>
          <p:spPr bwMode="ltGray">
            <a:xfrm>
              <a:off x="516255" y="5492115"/>
              <a:ext cx="162559" cy="162559"/>
            </a:xfrm>
            <a:custGeom>
              <a:avLst/>
              <a:gdLst>
                <a:gd name="connsiteX0" fmla="*/ 81280 w 162559"/>
                <a:gd name="connsiteY0" fmla="*/ 162560 h 162559"/>
                <a:gd name="connsiteX1" fmla="*/ 162560 w 162559"/>
                <a:gd name="connsiteY1" fmla="*/ 81280 h 162559"/>
                <a:gd name="connsiteX2" fmla="*/ 81280 w 162559"/>
                <a:gd name="connsiteY2" fmla="*/ 0 h 162559"/>
                <a:gd name="connsiteX3" fmla="*/ 0 w 162559"/>
                <a:gd name="connsiteY3" fmla="*/ 81280 h 162559"/>
                <a:gd name="connsiteX4" fmla="*/ 81280 w 162559"/>
                <a:gd name="connsiteY4" fmla="*/ 162560 h 16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59" h="162559">
                  <a:moveTo>
                    <a:pt x="81280" y="162560"/>
                  </a:moveTo>
                  <a:cubicBezTo>
                    <a:pt x="125730" y="162560"/>
                    <a:pt x="162560" y="126365"/>
                    <a:pt x="162560" y="81280"/>
                  </a:cubicBezTo>
                  <a:cubicBezTo>
                    <a:pt x="162560" y="36830"/>
                    <a:pt x="126365" y="0"/>
                    <a:pt x="81280" y="0"/>
                  </a:cubicBezTo>
                  <a:cubicBezTo>
                    <a:pt x="36195" y="0"/>
                    <a:pt x="0" y="36195"/>
                    <a:pt x="0" y="81280"/>
                  </a:cubicBezTo>
                  <a:cubicBezTo>
                    <a:pt x="635" y="126365"/>
                    <a:pt x="36830" y="162560"/>
                    <a:pt x="81280" y="162560"/>
                  </a:cubicBezTo>
                  <a:close/>
                </a:path>
              </a:pathLst>
            </a:custGeom>
            <a:solidFill>
              <a:srgbClr val="2E4DF9"/>
            </a:solidFill>
            <a:ln w="6350"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F184621D-2DC8-491F-BE05-44D96DCBD0A9}"/>
                </a:ext>
              </a:extLst>
            </p:cNvPr>
            <p:cNvSpPr/>
            <p:nvPr/>
          </p:nvSpPr>
          <p:spPr bwMode="ltGray">
            <a:xfrm>
              <a:off x="544830" y="5154930"/>
              <a:ext cx="105409" cy="105409"/>
            </a:xfrm>
            <a:custGeom>
              <a:avLst/>
              <a:gdLst>
                <a:gd name="connsiteX0" fmla="*/ 105410 w 105409"/>
                <a:gd name="connsiteY0" fmla="*/ 52705 h 105409"/>
                <a:gd name="connsiteX1" fmla="*/ 52705 w 105409"/>
                <a:gd name="connsiteY1" fmla="*/ 105410 h 105409"/>
                <a:gd name="connsiteX2" fmla="*/ 0 w 105409"/>
                <a:gd name="connsiteY2" fmla="*/ 52705 h 105409"/>
                <a:gd name="connsiteX3" fmla="*/ 52705 w 105409"/>
                <a:gd name="connsiteY3" fmla="*/ 0 h 105409"/>
                <a:gd name="connsiteX4" fmla="*/ 105410 w 105409"/>
                <a:gd name="connsiteY4" fmla="*/ 52705 h 105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9" h="105409">
                  <a:moveTo>
                    <a:pt x="105410" y="52705"/>
                  </a:moveTo>
                  <a:cubicBezTo>
                    <a:pt x="105410" y="81813"/>
                    <a:pt x="81813" y="105410"/>
                    <a:pt x="52705" y="105410"/>
                  </a:cubicBezTo>
                  <a:cubicBezTo>
                    <a:pt x="23597" y="105410"/>
                    <a:pt x="0" y="81813"/>
                    <a:pt x="0" y="52705"/>
                  </a:cubicBezTo>
                  <a:cubicBezTo>
                    <a:pt x="0" y="23597"/>
                    <a:pt x="23597" y="0"/>
                    <a:pt x="52705" y="0"/>
                  </a:cubicBezTo>
                  <a:cubicBezTo>
                    <a:pt x="81813" y="0"/>
                    <a:pt x="105410" y="23597"/>
                    <a:pt x="105410" y="52705"/>
                  </a:cubicBezTo>
                  <a:close/>
                </a:path>
              </a:pathLst>
            </a:custGeom>
            <a:solidFill>
              <a:srgbClr val="2E4DF9"/>
            </a:solidFill>
            <a:ln w="6350"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CC224B2B-5112-4E5B-A6E1-655F92724ECE}"/>
                </a:ext>
              </a:extLst>
            </p:cNvPr>
            <p:cNvSpPr/>
            <p:nvPr/>
          </p:nvSpPr>
          <p:spPr bwMode="ltGray">
            <a:xfrm>
              <a:off x="569594" y="4813935"/>
              <a:ext cx="55880" cy="55879"/>
            </a:xfrm>
            <a:custGeom>
              <a:avLst/>
              <a:gdLst>
                <a:gd name="connsiteX0" fmla="*/ 55880 w 55880"/>
                <a:gd name="connsiteY0" fmla="*/ 27940 h 55879"/>
                <a:gd name="connsiteX1" fmla="*/ 27940 w 55880"/>
                <a:gd name="connsiteY1" fmla="*/ 55880 h 55879"/>
                <a:gd name="connsiteX2" fmla="*/ 0 w 55880"/>
                <a:gd name="connsiteY2" fmla="*/ 27940 h 55879"/>
                <a:gd name="connsiteX3" fmla="*/ 27940 w 55880"/>
                <a:gd name="connsiteY3" fmla="*/ 0 h 55879"/>
                <a:gd name="connsiteX4" fmla="*/ 55880 w 55880"/>
                <a:gd name="connsiteY4" fmla="*/ 27940 h 55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0" h="55879">
                  <a:moveTo>
                    <a:pt x="55880" y="27940"/>
                  </a:moveTo>
                  <a:cubicBezTo>
                    <a:pt x="55880" y="43371"/>
                    <a:pt x="43371" y="55880"/>
                    <a:pt x="27940" y="55880"/>
                  </a:cubicBezTo>
                  <a:cubicBezTo>
                    <a:pt x="12509" y="55880"/>
                    <a:pt x="0" y="43371"/>
                    <a:pt x="0" y="27940"/>
                  </a:cubicBezTo>
                  <a:cubicBezTo>
                    <a:pt x="0" y="12509"/>
                    <a:pt x="12509" y="0"/>
                    <a:pt x="27940" y="0"/>
                  </a:cubicBezTo>
                  <a:cubicBezTo>
                    <a:pt x="43371" y="0"/>
                    <a:pt x="55880" y="12509"/>
                    <a:pt x="55880" y="27940"/>
                  </a:cubicBezTo>
                  <a:close/>
                </a:path>
              </a:pathLst>
            </a:custGeom>
            <a:solidFill>
              <a:srgbClr val="2E4DF9"/>
            </a:solidFill>
            <a:ln w="6350" cap="flat">
              <a:noFill/>
              <a:prstDash val="solid"/>
              <a:miter/>
            </a:ln>
          </p:spPr>
          <p:txBody>
            <a:bodyPr rtlCol="0" anchor="ctr"/>
            <a:lstStyle/>
            <a:p>
              <a:endParaRPr lang="en-GB"/>
            </a:p>
          </p:txBody>
        </p:sp>
        <p:sp>
          <p:nvSpPr>
            <p:cNvPr id="207" name="Freeform: Shape 206">
              <a:extLst>
                <a:ext uri="{FF2B5EF4-FFF2-40B4-BE49-F238E27FC236}">
                  <a16:creationId xmlns:a16="http://schemas.microsoft.com/office/drawing/2014/main" id="{2AA5A0E6-8773-4F5A-B86B-9012948A88D7}"/>
                </a:ext>
              </a:extLst>
            </p:cNvPr>
            <p:cNvSpPr/>
            <p:nvPr/>
          </p:nvSpPr>
          <p:spPr bwMode="ltGray">
            <a:xfrm>
              <a:off x="842010" y="6550659"/>
              <a:ext cx="242569" cy="242570"/>
            </a:xfrm>
            <a:custGeom>
              <a:avLst/>
              <a:gdLst>
                <a:gd name="connsiteX0" fmla="*/ 121285 w 242569"/>
                <a:gd name="connsiteY0" fmla="*/ 0 h 242570"/>
                <a:gd name="connsiteX1" fmla="*/ 0 w 242569"/>
                <a:gd name="connsiteY1" fmla="*/ 121285 h 242570"/>
                <a:gd name="connsiteX2" fmla="*/ 121285 w 242569"/>
                <a:gd name="connsiteY2" fmla="*/ 242570 h 242570"/>
                <a:gd name="connsiteX3" fmla="*/ 242570 w 242569"/>
                <a:gd name="connsiteY3" fmla="*/ 121285 h 242570"/>
                <a:gd name="connsiteX4" fmla="*/ 121285 w 242569"/>
                <a:gd name="connsiteY4" fmla="*/ 0 h 242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69" h="242570">
                  <a:moveTo>
                    <a:pt x="121285" y="0"/>
                  </a:moveTo>
                  <a:cubicBezTo>
                    <a:pt x="54610" y="0"/>
                    <a:pt x="0" y="53975"/>
                    <a:pt x="0" y="121285"/>
                  </a:cubicBezTo>
                  <a:cubicBezTo>
                    <a:pt x="0" y="187960"/>
                    <a:pt x="53975" y="242570"/>
                    <a:pt x="121285" y="242570"/>
                  </a:cubicBezTo>
                  <a:cubicBezTo>
                    <a:pt x="188595" y="242570"/>
                    <a:pt x="242570" y="188595"/>
                    <a:pt x="242570" y="121285"/>
                  </a:cubicBezTo>
                  <a:cubicBezTo>
                    <a:pt x="242570" y="53975"/>
                    <a:pt x="188595" y="0"/>
                    <a:pt x="121285" y="0"/>
                  </a:cubicBezTo>
                  <a:close/>
                </a:path>
              </a:pathLst>
            </a:custGeom>
            <a:solidFill>
              <a:srgbClr val="2E4DF9"/>
            </a:solidFill>
            <a:ln w="6350"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5F41A250-8C39-49A1-AA75-032C64AFADEE}"/>
                </a:ext>
              </a:extLst>
            </p:cNvPr>
            <p:cNvSpPr/>
            <p:nvPr/>
          </p:nvSpPr>
          <p:spPr bwMode="ltGray">
            <a:xfrm>
              <a:off x="855979" y="6198235"/>
              <a:ext cx="214630" cy="214629"/>
            </a:xfrm>
            <a:custGeom>
              <a:avLst/>
              <a:gdLst>
                <a:gd name="connsiteX0" fmla="*/ 214630 w 214630"/>
                <a:gd name="connsiteY0" fmla="*/ 107315 h 214629"/>
                <a:gd name="connsiteX1" fmla="*/ 107315 w 214630"/>
                <a:gd name="connsiteY1" fmla="*/ 214630 h 214629"/>
                <a:gd name="connsiteX2" fmla="*/ 0 w 214630"/>
                <a:gd name="connsiteY2" fmla="*/ 107315 h 214629"/>
                <a:gd name="connsiteX3" fmla="*/ 107315 w 214630"/>
                <a:gd name="connsiteY3" fmla="*/ 0 h 214629"/>
                <a:gd name="connsiteX4" fmla="*/ 214630 w 214630"/>
                <a:gd name="connsiteY4" fmla="*/ 107315 h 21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 h="214629">
                  <a:moveTo>
                    <a:pt x="214630" y="107315"/>
                  </a:moveTo>
                  <a:cubicBezTo>
                    <a:pt x="214630" y="166583"/>
                    <a:pt x="166583" y="214630"/>
                    <a:pt x="107315" y="214630"/>
                  </a:cubicBezTo>
                  <a:cubicBezTo>
                    <a:pt x="48047" y="214630"/>
                    <a:pt x="0" y="166583"/>
                    <a:pt x="0" y="107315"/>
                  </a:cubicBezTo>
                  <a:cubicBezTo>
                    <a:pt x="0" y="48047"/>
                    <a:pt x="48047" y="0"/>
                    <a:pt x="107315" y="0"/>
                  </a:cubicBezTo>
                  <a:cubicBezTo>
                    <a:pt x="166584" y="0"/>
                    <a:pt x="214630" y="48047"/>
                    <a:pt x="214630" y="107315"/>
                  </a:cubicBezTo>
                  <a:close/>
                </a:path>
              </a:pathLst>
            </a:custGeom>
            <a:solidFill>
              <a:srgbClr val="2E4DF9"/>
            </a:solidFill>
            <a:ln w="6350"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5E41919C-6E0F-4B52-9D7A-E79712395C22}"/>
                </a:ext>
              </a:extLst>
            </p:cNvPr>
            <p:cNvSpPr/>
            <p:nvPr/>
          </p:nvSpPr>
          <p:spPr bwMode="ltGray">
            <a:xfrm>
              <a:off x="877569" y="5854065"/>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rgbClr val="2E4DF9"/>
            </a:solidFill>
            <a:ln w="6350"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0663F6B-D2B4-493C-93B3-B63E8135212E}"/>
                </a:ext>
              </a:extLst>
            </p:cNvPr>
            <p:cNvSpPr/>
            <p:nvPr/>
          </p:nvSpPr>
          <p:spPr bwMode="ltGray">
            <a:xfrm>
              <a:off x="901064" y="5511800"/>
              <a:ext cx="124460" cy="124459"/>
            </a:xfrm>
            <a:custGeom>
              <a:avLst/>
              <a:gdLst>
                <a:gd name="connsiteX0" fmla="*/ 124460 w 124460"/>
                <a:gd name="connsiteY0" fmla="*/ 62230 h 124459"/>
                <a:gd name="connsiteX1" fmla="*/ 62230 w 124460"/>
                <a:gd name="connsiteY1" fmla="*/ 124460 h 124459"/>
                <a:gd name="connsiteX2" fmla="*/ 0 w 124460"/>
                <a:gd name="connsiteY2" fmla="*/ 62230 h 124459"/>
                <a:gd name="connsiteX3" fmla="*/ 62230 w 124460"/>
                <a:gd name="connsiteY3" fmla="*/ 0 h 124459"/>
                <a:gd name="connsiteX4" fmla="*/ 124460 w 124460"/>
                <a:gd name="connsiteY4" fmla="*/ 6223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 h="124459">
                  <a:moveTo>
                    <a:pt x="124460" y="62230"/>
                  </a:moveTo>
                  <a:cubicBezTo>
                    <a:pt x="124460" y="96599"/>
                    <a:pt x="96599" y="124460"/>
                    <a:pt x="62230" y="124460"/>
                  </a:cubicBezTo>
                  <a:cubicBezTo>
                    <a:pt x="27861" y="124460"/>
                    <a:pt x="0" y="96598"/>
                    <a:pt x="0" y="62230"/>
                  </a:cubicBezTo>
                  <a:cubicBezTo>
                    <a:pt x="0" y="27861"/>
                    <a:pt x="27861" y="0"/>
                    <a:pt x="62230" y="0"/>
                  </a:cubicBezTo>
                  <a:cubicBezTo>
                    <a:pt x="96599" y="0"/>
                    <a:pt x="124460" y="27861"/>
                    <a:pt x="124460" y="62230"/>
                  </a:cubicBezTo>
                  <a:close/>
                </a:path>
              </a:pathLst>
            </a:custGeom>
            <a:solidFill>
              <a:srgbClr val="2E4DF9"/>
            </a:solidFill>
            <a:ln w="6350"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A140E152-F242-4339-A232-DC27F3C83154}"/>
                </a:ext>
              </a:extLst>
            </p:cNvPr>
            <p:cNvSpPr/>
            <p:nvPr/>
          </p:nvSpPr>
          <p:spPr bwMode="ltGray">
            <a:xfrm>
              <a:off x="924560" y="5169534"/>
              <a:ext cx="77469" cy="77470"/>
            </a:xfrm>
            <a:custGeom>
              <a:avLst/>
              <a:gdLst>
                <a:gd name="connsiteX0" fmla="*/ 38735 w 77469"/>
                <a:gd name="connsiteY0" fmla="*/ 77470 h 77470"/>
                <a:gd name="connsiteX1" fmla="*/ 77470 w 77469"/>
                <a:gd name="connsiteY1" fmla="*/ 38735 h 77470"/>
                <a:gd name="connsiteX2" fmla="*/ 38735 w 77469"/>
                <a:gd name="connsiteY2" fmla="*/ 0 h 77470"/>
                <a:gd name="connsiteX3" fmla="*/ 0 w 77469"/>
                <a:gd name="connsiteY3" fmla="*/ 38735 h 77470"/>
                <a:gd name="connsiteX4" fmla="*/ 38735 w 77469"/>
                <a:gd name="connsiteY4" fmla="*/ 77470 h 77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9" h="77470">
                  <a:moveTo>
                    <a:pt x="38735" y="77470"/>
                  </a:moveTo>
                  <a:cubicBezTo>
                    <a:pt x="60325" y="77470"/>
                    <a:pt x="77470" y="60325"/>
                    <a:pt x="77470" y="38735"/>
                  </a:cubicBezTo>
                  <a:cubicBezTo>
                    <a:pt x="77470" y="17145"/>
                    <a:pt x="60325" y="0"/>
                    <a:pt x="38735" y="0"/>
                  </a:cubicBezTo>
                  <a:cubicBezTo>
                    <a:pt x="17145" y="0"/>
                    <a:pt x="0" y="17145"/>
                    <a:pt x="0" y="38735"/>
                  </a:cubicBezTo>
                  <a:cubicBezTo>
                    <a:pt x="0" y="60325"/>
                    <a:pt x="17145" y="77470"/>
                    <a:pt x="38735" y="77470"/>
                  </a:cubicBezTo>
                  <a:close/>
                </a:path>
              </a:pathLst>
            </a:custGeom>
            <a:solidFill>
              <a:srgbClr val="2E4DF9"/>
            </a:solidFill>
            <a:ln w="6350" cap="flat">
              <a:noFill/>
              <a:prstDash val="solid"/>
              <a:miter/>
            </a:ln>
          </p:spPr>
          <p:txBody>
            <a:bodyPr rtlCol="0" anchor="ctr"/>
            <a:lstStyle/>
            <a:p>
              <a:endParaRPr lang="en-GB"/>
            </a:p>
          </p:txBody>
        </p:sp>
        <p:sp>
          <p:nvSpPr>
            <p:cNvPr id="212" name="Freeform: Shape 211">
              <a:extLst>
                <a:ext uri="{FF2B5EF4-FFF2-40B4-BE49-F238E27FC236}">
                  <a16:creationId xmlns:a16="http://schemas.microsoft.com/office/drawing/2014/main" id="{022B96D4-7DD1-4193-A86D-082E128F3588}"/>
                </a:ext>
              </a:extLst>
            </p:cNvPr>
            <p:cNvSpPr/>
            <p:nvPr/>
          </p:nvSpPr>
          <p:spPr bwMode="ltGray">
            <a:xfrm>
              <a:off x="942975" y="4821555"/>
              <a:ext cx="40639" cy="40640"/>
            </a:xfrm>
            <a:custGeom>
              <a:avLst/>
              <a:gdLst>
                <a:gd name="connsiteX0" fmla="*/ 40640 w 40639"/>
                <a:gd name="connsiteY0" fmla="*/ 20320 h 40640"/>
                <a:gd name="connsiteX1" fmla="*/ 20320 w 40639"/>
                <a:gd name="connsiteY1" fmla="*/ 40640 h 40640"/>
                <a:gd name="connsiteX2" fmla="*/ 0 w 40639"/>
                <a:gd name="connsiteY2" fmla="*/ 20320 h 40640"/>
                <a:gd name="connsiteX3" fmla="*/ 20320 w 40639"/>
                <a:gd name="connsiteY3" fmla="*/ 0 h 40640"/>
                <a:gd name="connsiteX4" fmla="*/ 40640 w 40639"/>
                <a:gd name="connsiteY4" fmla="*/ 20320 h 40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 h="40640">
                  <a:moveTo>
                    <a:pt x="40640" y="20320"/>
                  </a:moveTo>
                  <a:cubicBezTo>
                    <a:pt x="40640" y="31543"/>
                    <a:pt x="31542" y="40640"/>
                    <a:pt x="20320" y="40640"/>
                  </a:cubicBezTo>
                  <a:cubicBezTo>
                    <a:pt x="9098" y="40640"/>
                    <a:pt x="0" y="31543"/>
                    <a:pt x="0" y="20320"/>
                  </a:cubicBezTo>
                  <a:cubicBezTo>
                    <a:pt x="0" y="9097"/>
                    <a:pt x="9098" y="0"/>
                    <a:pt x="20320" y="0"/>
                  </a:cubicBezTo>
                  <a:cubicBezTo>
                    <a:pt x="31542" y="0"/>
                    <a:pt x="40640" y="9097"/>
                    <a:pt x="40640" y="20320"/>
                  </a:cubicBezTo>
                  <a:close/>
                </a:path>
              </a:pathLst>
            </a:custGeom>
            <a:solidFill>
              <a:srgbClr val="2E4DF9"/>
            </a:solidFill>
            <a:ln w="6350" cap="flat">
              <a:noFill/>
              <a:prstDash val="solid"/>
              <a:miter/>
            </a:ln>
          </p:spPr>
          <p:txBody>
            <a:bodyPr rtlCol="0" anchor="ctr"/>
            <a:lstStyle/>
            <a:p>
              <a:endParaRPr lang="en-GB"/>
            </a:p>
          </p:txBody>
        </p:sp>
        <p:sp>
          <p:nvSpPr>
            <p:cNvPr id="213" name="Freeform: Shape 212">
              <a:extLst>
                <a:ext uri="{FF2B5EF4-FFF2-40B4-BE49-F238E27FC236}">
                  <a16:creationId xmlns:a16="http://schemas.microsoft.com/office/drawing/2014/main" id="{84F91198-3DA9-41F3-BEFC-291A66CC9451}"/>
                </a:ext>
              </a:extLst>
            </p:cNvPr>
            <p:cNvSpPr/>
            <p:nvPr/>
          </p:nvSpPr>
          <p:spPr bwMode="ltGray">
            <a:xfrm>
              <a:off x="1236344" y="6577965"/>
              <a:ext cx="186690" cy="186690"/>
            </a:xfrm>
            <a:custGeom>
              <a:avLst/>
              <a:gdLst>
                <a:gd name="connsiteX0" fmla="*/ 93345 w 186690"/>
                <a:gd name="connsiteY0" fmla="*/ 0 h 186690"/>
                <a:gd name="connsiteX1" fmla="*/ 0 w 186690"/>
                <a:gd name="connsiteY1" fmla="*/ 93345 h 186690"/>
                <a:gd name="connsiteX2" fmla="*/ 93345 w 186690"/>
                <a:gd name="connsiteY2" fmla="*/ 186690 h 186690"/>
                <a:gd name="connsiteX3" fmla="*/ 186690 w 186690"/>
                <a:gd name="connsiteY3" fmla="*/ 93345 h 186690"/>
                <a:gd name="connsiteX4" fmla="*/ 93345 w 186690"/>
                <a:gd name="connsiteY4" fmla="*/ 0 h 18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90" h="186690">
                  <a:moveTo>
                    <a:pt x="93345" y="0"/>
                  </a:moveTo>
                  <a:cubicBezTo>
                    <a:pt x="41910" y="0"/>
                    <a:pt x="0" y="41910"/>
                    <a:pt x="0" y="93345"/>
                  </a:cubicBezTo>
                  <a:cubicBezTo>
                    <a:pt x="0" y="144780"/>
                    <a:pt x="41910" y="186690"/>
                    <a:pt x="93345" y="186690"/>
                  </a:cubicBezTo>
                  <a:cubicBezTo>
                    <a:pt x="144780" y="186690"/>
                    <a:pt x="186690" y="144780"/>
                    <a:pt x="186690" y="93345"/>
                  </a:cubicBezTo>
                  <a:cubicBezTo>
                    <a:pt x="186690" y="41910"/>
                    <a:pt x="144780" y="0"/>
                    <a:pt x="93345" y="0"/>
                  </a:cubicBezTo>
                  <a:close/>
                </a:path>
              </a:pathLst>
            </a:custGeom>
            <a:solidFill>
              <a:srgbClr val="2E4DF9"/>
            </a:solidFill>
            <a:ln w="6350" cap="flat">
              <a:noFill/>
              <a:prstDash val="solid"/>
              <a:miter/>
            </a:ln>
          </p:spPr>
          <p:txBody>
            <a:bodyPr rtlCol="0" anchor="ctr"/>
            <a:lstStyle/>
            <a:p>
              <a:endParaRPr lang="en-GB"/>
            </a:p>
          </p:txBody>
        </p:sp>
        <p:sp>
          <p:nvSpPr>
            <p:cNvPr id="214" name="Freeform: Shape 213">
              <a:extLst>
                <a:ext uri="{FF2B5EF4-FFF2-40B4-BE49-F238E27FC236}">
                  <a16:creationId xmlns:a16="http://schemas.microsoft.com/office/drawing/2014/main" id="{1745286A-26FE-4A6F-9B31-444968445BC9}"/>
                </a:ext>
              </a:extLst>
            </p:cNvPr>
            <p:cNvSpPr/>
            <p:nvPr/>
          </p:nvSpPr>
          <p:spPr bwMode="ltGray">
            <a:xfrm>
              <a:off x="1249680" y="6225540"/>
              <a:ext cx="160019" cy="160019"/>
            </a:xfrm>
            <a:custGeom>
              <a:avLst/>
              <a:gdLst>
                <a:gd name="connsiteX0" fmla="*/ 80010 w 160019"/>
                <a:gd name="connsiteY0" fmla="*/ 160020 h 160019"/>
                <a:gd name="connsiteX1" fmla="*/ 160020 w 160019"/>
                <a:gd name="connsiteY1" fmla="*/ 80010 h 160019"/>
                <a:gd name="connsiteX2" fmla="*/ 80010 w 160019"/>
                <a:gd name="connsiteY2" fmla="*/ 0 h 160019"/>
                <a:gd name="connsiteX3" fmla="*/ 0 w 160019"/>
                <a:gd name="connsiteY3" fmla="*/ 80010 h 160019"/>
                <a:gd name="connsiteX4" fmla="*/ 80010 w 160019"/>
                <a:gd name="connsiteY4" fmla="*/ 160020 h 16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19" h="160019">
                  <a:moveTo>
                    <a:pt x="80010" y="160020"/>
                  </a:moveTo>
                  <a:cubicBezTo>
                    <a:pt x="123825" y="160020"/>
                    <a:pt x="160020" y="124460"/>
                    <a:pt x="160020" y="80010"/>
                  </a:cubicBezTo>
                  <a:cubicBezTo>
                    <a:pt x="160020" y="36195"/>
                    <a:pt x="124460" y="0"/>
                    <a:pt x="80010" y="0"/>
                  </a:cubicBezTo>
                  <a:cubicBezTo>
                    <a:pt x="36195" y="0"/>
                    <a:pt x="0" y="35560"/>
                    <a:pt x="0" y="80010"/>
                  </a:cubicBezTo>
                  <a:cubicBezTo>
                    <a:pt x="0" y="123825"/>
                    <a:pt x="35560" y="160020"/>
                    <a:pt x="80010" y="160020"/>
                  </a:cubicBezTo>
                  <a:close/>
                </a:path>
              </a:pathLst>
            </a:custGeom>
            <a:solidFill>
              <a:srgbClr val="2E4DF9"/>
            </a:solidFill>
            <a:ln w="6350" cap="flat">
              <a:noFill/>
              <a:prstDash val="solid"/>
              <a:miter/>
            </a:ln>
          </p:spPr>
          <p:txBody>
            <a:bodyPr rtlCol="0" anchor="ctr"/>
            <a:lstStyle/>
            <a:p>
              <a:endParaRPr lang="en-GB"/>
            </a:p>
          </p:txBody>
        </p:sp>
        <p:sp>
          <p:nvSpPr>
            <p:cNvPr id="215" name="Freeform: Shape 214">
              <a:extLst>
                <a:ext uri="{FF2B5EF4-FFF2-40B4-BE49-F238E27FC236}">
                  <a16:creationId xmlns:a16="http://schemas.microsoft.com/office/drawing/2014/main" id="{99050AD9-A5CE-4705-9A3C-978715B55866}"/>
                </a:ext>
              </a:extLst>
            </p:cNvPr>
            <p:cNvSpPr/>
            <p:nvPr/>
          </p:nvSpPr>
          <p:spPr bwMode="ltGray">
            <a:xfrm>
              <a:off x="1268730" y="5878830"/>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solidFill>
              <a:srgbClr val="2E4DF9"/>
            </a:solidFill>
            <a:ln w="6350" cap="flat">
              <a:no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C1780A46-4FDF-464F-B69A-60F9CBB8D77E}"/>
                </a:ext>
              </a:extLst>
            </p:cNvPr>
            <p:cNvSpPr/>
            <p:nvPr/>
          </p:nvSpPr>
          <p:spPr bwMode="ltGray">
            <a:xfrm>
              <a:off x="1287764" y="5532120"/>
              <a:ext cx="83835" cy="83820"/>
            </a:xfrm>
            <a:custGeom>
              <a:avLst/>
              <a:gdLst>
                <a:gd name="connsiteX0" fmla="*/ 41925 w 83835"/>
                <a:gd name="connsiteY0" fmla="*/ 83820 h 83820"/>
                <a:gd name="connsiteX1" fmla="*/ 83835 w 83835"/>
                <a:gd name="connsiteY1" fmla="*/ 41910 h 83820"/>
                <a:gd name="connsiteX2" fmla="*/ 41925 w 83835"/>
                <a:gd name="connsiteY2" fmla="*/ 0 h 83820"/>
                <a:gd name="connsiteX3" fmla="*/ 15 w 83835"/>
                <a:gd name="connsiteY3" fmla="*/ 41910 h 83820"/>
                <a:gd name="connsiteX4" fmla="*/ 41925 w 83835"/>
                <a:gd name="connsiteY4" fmla="*/ 83820 h 83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35" h="83820">
                  <a:moveTo>
                    <a:pt x="41925" y="83820"/>
                  </a:moveTo>
                  <a:cubicBezTo>
                    <a:pt x="65420" y="83820"/>
                    <a:pt x="83835" y="64770"/>
                    <a:pt x="83835" y="41910"/>
                  </a:cubicBezTo>
                  <a:cubicBezTo>
                    <a:pt x="83835" y="18415"/>
                    <a:pt x="64785" y="0"/>
                    <a:pt x="41925" y="0"/>
                  </a:cubicBezTo>
                  <a:cubicBezTo>
                    <a:pt x="19065" y="0"/>
                    <a:pt x="15" y="19050"/>
                    <a:pt x="15" y="41910"/>
                  </a:cubicBezTo>
                  <a:cubicBezTo>
                    <a:pt x="-620" y="64770"/>
                    <a:pt x="18430" y="83820"/>
                    <a:pt x="41925" y="83820"/>
                  </a:cubicBezTo>
                  <a:close/>
                </a:path>
              </a:pathLst>
            </a:custGeom>
            <a:solidFill>
              <a:srgbClr val="2E4DF9"/>
            </a:solidFill>
            <a:ln w="6350" cap="flat">
              <a:noFill/>
              <a:prstDash val="solid"/>
              <a:miter/>
            </a:ln>
          </p:spPr>
          <p:txBody>
            <a:bodyPr rtlCol="0" anchor="ctr"/>
            <a:lstStyle/>
            <a:p>
              <a:endParaRPr lang="en-GB"/>
            </a:p>
          </p:txBody>
        </p:sp>
        <p:sp>
          <p:nvSpPr>
            <p:cNvPr id="217" name="Freeform: Shape 216">
              <a:extLst>
                <a:ext uri="{FF2B5EF4-FFF2-40B4-BE49-F238E27FC236}">
                  <a16:creationId xmlns:a16="http://schemas.microsoft.com/office/drawing/2014/main" id="{67A4A40C-E1D4-4376-B779-DE15CCAEC4AC}"/>
                </a:ext>
              </a:extLst>
            </p:cNvPr>
            <p:cNvSpPr/>
            <p:nvPr/>
          </p:nvSpPr>
          <p:spPr bwMode="ltGray">
            <a:xfrm>
              <a:off x="1304925" y="5182870"/>
              <a:ext cx="49530" cy="49529"/>
            </a:xfrm>
            <a:custGeom>
              <a:avLst/>
              <a:gdLst>
                <a:gd name="connsiteX0" fmla="*/ 24765 w 49530"/>
                <a:gd name="connsiteY0" fmla="*/ 49530 h 49529"/>
                <a:gd name="connsiteX1" fmla="*/ 49530 w 49530"/>
                <a:gd name="connsiteY1" fmla="*/ 24765 h 49529"/>
                <a:gd name="connsiteX2" fmla="*/ 24765 w 49530"/>
                <a:gd name="connsiteY2" fmla="*/ 0 h 49529"/>
                <a:gd name="connsiteX3" fmla="*/ 0 w 49530"/>
                <a:gd name="connsiteY3" fmla="*/ 24765 h 49529"/>
                <a:gd name="connsiteX4" fmla="*/ 24765 w 49530"/>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7940CD31-B223-4365-857A-4E096594BAB7}"/>
                </a:ext>
              </a:extLst>
            </p:cNvPr>
            <p:cNvSpPr/>
            <p:nvPr/>
          </p:nvSpPr>
          <p:spPr bwMode="ltGray">
            <a:xfrm>
              <a:off x="1633220" y="6609715"/>
              <a:ext cx="124459" cy="124459"/>
            </a:xfrm>
            <a:custGeom>
              <a:avLst/>
              <a:gdLst>
                <a:gd name="connsiteX0" fmla="*/ 62230 w 124459"/>
                <a:gd name="connsiteY0" fmla="*/ 0 h 124459"/>
                <a:gd name="connsiteX1" fmla="*/ 0 w 124459"/>
                <a:gd name="connsiteY1" fmla="*/ 62230 h 124459"/>
                <a:gd name="connsiteX2" fmla="*/ 62230 w 124459"/>
                <a:gd name="connsiteY2" fmla="*/ 124460 h 124459"/>
                <a:gd name="connsiteX3" fmla="*/ 124460 w 124459"/>
                <a:gd name="connsiteY3" fmla="*/ 62230 h 124459"/>
                <a:gd name="connsiteX4" fmla="*/ 62230 w 124459"/>
                <a:gd name="connsiteY4" fmla="*/ 0 h 124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59" h="124459">
                  <a:moveTo>
                    <a:pt x="62230" y="0"/>
                  </a:moveTo>
                  <a:cubicBezTo>
                    <a:pt x="27940" y="0"/>
                    <a:pt x="0" y="27940"/>
                    <a:pt x="0" y="62230"/>
                  </a:cubicBezTo>
                  <a:cubicBezTo>
                    <a:pt x="0" y="96520"/>
                    <a:pt x="27940" y="124460"/>
                    <a:pt x="62230" y="124460"/>
                  </a:cubicBezTo>
                  <a:cubicBezTo>
                    <a:pt x="96520" y="124460"/>
                    <a:pt x="124460" y="96520"/>
                    <a:pt x="124460" y="62230"/>
                  </a:cubicBezTo>
                  <a:cubicBezTo>
                    <a:pt x="124460" y="27940"/>
                    <a:pt x="96520" y="0"/>
                    <a:pt x="62230" y="0"/>
                  </a:cubicBezTo>
                  <a:close/>
                </a:path>
              </a:pathLst>
            </a:custGeom>
            <a:solidFill>
              <a:srgbClr val="2E4DF9"/>
            </a:solidFill>
            <a:ln w="6350" cap="flat">
              <a:noFill/>
              <a:prstDash val="solid"/>
              <a:miter/>
            </a:ln>
          </p:spPr>
          <p:txBody>
            <a:bodyPr rtlCol="0" anchor="ctr"/>
            <a:lstStyle/>
            <a:p>
              <a:endParaRPr lang="en-GB"/>
            </a:p>
          </p:txBody>
        </p:sp>
        <p:sp>
          <p:nvSpPr>
            <p:cNvPr id="219" name="Freeform: Shape 218">
              <a:extLst>
                <a:ext uri="{FF2B5EF4-FFF2-40B4-BE49-F238E27FC236}">
                  <a16:creationId xmlns:a16="http://schemas.microsoft.com/office/drawing/2014/main" id="{5C00775B-CDD2-436B-9B1F-BB0DA84C2D05}"/>
                </a:ext>
              </a:extLst>
            </p:cNvPr>
            <p:cNvSpPr/>
            <p:nvPr/>
          </p:nvSpPr>
          <p:spPr bwMode="ltGray">
            <a:xfrm>
              <a:off x="1644650" y="6254750"/>
              <a:ext cx="101600" cy="101600"/>
            </a:xfrm>
            <a:custGeom>
              <a:avLst/>
              <a:gdLst>
                <a:gd name="connsiteX0" fmla="*/ 50800 w 101600"/>
                <a:gd name="connsiteY0" fmla="*/ 101600 h 101600"/>
                <a:gd name="connsiteX1" fmla="*/ 101600 w 101600"/>
                <a:gd name="connsiteY1" fmla="*/ 50800 h 101600"/>
                <a:gd name="connsiteX2" fmla="*/ 50800 w 101600"/>
                <a:gd name="connsiteY2" fmla="*/ 0 h 101600"/>
                <a:gd name="connsiteX3" fmla="*/ 0 w 101600"/>
                <a:gd name="connsiteY3" fmla="*/ 50800 h 101600"/>
                <a:gd name="connsiteX4" fmla="*/ 50800 w 101600"/>
                <a:gd name="connsiteY4" fmla="*/ 101600 h 10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101600">
                  <a:moveTo>
                    <a:pt x="50800" y="101600"/>
                  </a:moveTo>
                  <a:cubicBezTo>
                    <a:pt x="78740" y="101600"/>
                    <a:pt x="101600" y="78740"/>
                    <a:pt x="101600" y="50800"/>
                  </a:cubicBezTo>
                  <a:cubicBezTo>
                    <a:pt x="101600" y="22860"/>
                    <a:pt x="78740" y="0"/>
                    <a:pt x="50800" y="0"/>
                  </a:cubicBezTo>
                  <a:cubicBezTo>
                    <a:pt x="22860" y="0"/>
                    <a:pt x="0" y="22860"/>
                    <a:pt x="0" y="50800"/>
                  </a:cubicBezTo>
                  <a:cubicBezTo>
                    <a:pt x="0" y="78740"/>
                    <a:pt x="22860" y="101600"/>
                    <a:pt x="50800" y="101600"/>
                  </a:cubicBezTo>
                  <a:close/>
                </a:path>
              </a:pathLst>
            </a:custGeom>
            <a:solidFill>
              <a:srgbClr val="2E4DF9"/>
            </a:solidFill>
            <a:ln w="6350" cap="flat">
              <a:no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7C276F16-8F17-4EF7-BE4E-CBD589E54F89}"/>
                </a:ext>
              </a:extLst>
            </p:cNvPr>
            <p:cNvSpPr/>
            <p:nvPr/>
          </p:nvSpPr>
          <p:spPr bwMode="ltGray">
            <a:xfrm>
              <a:off x="1658620" y="5902960"/>
              <a:ext cx="73660" cy="73659"/>
            </a:xfrm>
            <a:custGeom>
              <a:avLst/>
              <a:gdLst>
                <a:gd name="connsiteX0" fmla="*/ 73660 w 73660"/>
                <a:gd name="connsiteY0" fmla="*/ 36830 h 73659"/>
                <a:gd name="connsiteX1" fmla="*/ 36830 w 73660"/>
                <a:gd name="connsiteY1" fmla="*/ 73660 h 73659"/>
                <a:gd name="connsiteX2" fmla="*/ 0 w 73660"/>
                <a:gd name="connsiteY2" fmla="*/ 36830 h 73659"/>
                <a:gd name="connsiteX3" fmla="*/ 36830 w 73660"/>
                <a:gd name="connsiteY3" fmla="*/ 0 h 73659"/>
                <a:gd name="connsiteX4" fmla="*/ 73660 w 73660"/>
                <a:gd name="connsiteY4" fmla="*/ 36830 h 73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60" h="73659">
                  <a:moveTo>
                    <a:pt x="73660" y="36830"/>
                  </a:moveTo>
                  <a:cubicBezTo>
                    <a:pt x="73660" y="57171"/>
                    <a:pt x="57171" y="73660"/>
                    <a:pt x="36830" y="73660"/>
                  </a:cubicBezTo>
                  <a:cubicBezTo>
                    <a:pt x="16489" y="73660"/>
                    <a:pt x="0" y="57171"/>
                    <a:pt x="0" y="36830"/>
                  </a:cubicBezTo>
                  <a:cubicBezTo>
                    <a:pt x="0" y="16490"/>
                    <a:pt x="16489" y="0"/>
                    <a:pt x="36830" y="0"/>
                  </a:cubicBezTo>
                  <a:cubicBezTo>
                    <a:pt x="57171" y="0"/>
                    <a:pt x="73660" y="16490"/>
                    <a:pt x="73660" y="36830"/>
                  </a:cubicBezTo>
                  <a:close/>
                </a:path>
              </a:pathLst>
            </a:custGeom>
            <a:solidFill>
              <a:srgbClr val="2E4DF9"/>
            </a:solidFill>
            <a:ln w="6350" cap="flat">
              <a:noFill/>
              <a:prstDash val="solid"/>
              <a:miter/>
            </a:ln>
          </p:spPr>
          <p:txBody>
            <a:bodyPr rtlCol="0" anchor="ctr"/>
            <a:lstStyle/>
            <a:p>
              <a:endParaRPr lang="en-GB"/>
            </a:p>
          </p:txBody>
        </p:sp>
        <p:sp>
          <p:nvSpPr>
            <p:cNvPr id="221" name="Freeform: Shape 220">
              <a:extLst>
                <a:ext uri="{FF2B5EF4-FFF2-40B4-BE49-F238E27FC236}">
                  <a16:creationId xmlns:a16="http://schemas.microsoft.com/office/drawing/2014/main" id="{58C8D368-3682-467B-A3D5-F108D789E98B}"/>
                </a:ext>
              </a:extLst>
            </p:cNvPr>
            <p:cNvSpPr/>
            <p:nvPr/>
          </p:nvSpPr>
          <p:spPr bwMode="ltGray">
            <a:xfrm>
              <a:off x="1670685" y="5548629"/>
              <a:ext cx="49529" cy="49529"/>
            </a:xfrm>
            <a:custGeom>
              <a:avLst/>
              <a:gdLst>
                <a:gd name="connsiteX0" fmla="*/ 24765 w 49529"/>
                <a:gd name="connsiteY0" fmla="*/ 49530 h 49529"/>
                <a:gd name="connsiteX1" fmla="*/ 49530 w 49529"/>
                <a:gd name="connsiteY1" fmla="*/ 24765 h 49529"/>
                <a:gd name="connsiteX2" fmla="*/ 24765 w 49529"/>
                <a:gd name="connsiteY2" fmla="*/ 0 h 49529"/>
                <a:gd name="connsiteX3" fmla="*/ 0 w 49529"/>
                <a:gd name="connsiteY3" fmla="*/ 24765 h 49529"/>
                <a:gd name="connsiteX4" fmla="*/ 24765 w 49529"/>
                <a:gd name="connsiteY4" fmla="*/ 49530 h 4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29" h="49529">
                  <a:moveTo>
                    <a:pt x="24765" y="49530"/>
                  </a:moveTo>
                  <a:cubicBezTo>
                    <a:pt x="38100" y="49530"/>
                    <a:pt x="49530" y="38735"/>
                    <a:pt x="49530" y="24765"/>
                  </a:cubicBezTo>
                  <a:cubicBezTo>
                    <a:pt x="49530" y="10795"/>
                    <a:pt x="38735" y="0"/>
                    <a:pt x="24765" y="0"/>
                  </a:cubicBezTo>
                  <a:cubicBezTo>
                    <a:pt x="10795" y="0"/>
                    <a:pt x="0" y="10795"/>
                    <a:pt x="0" y="24765"/>
                  </a:cubicBezTo>
                  <a:cubicBezTo>
                    <a:pt x="0" y="38735"/>
                    <a:pt x="10795" y="49530"/>
                    <a:pt x="24765" y="49530"/>
                  </a:cubicBezTo>
                  <a:close/>
                </a:path>
              </a:pathLst>
            </a:custGeom>
            <a:solidFill>
              <a:srgbClr val="2E4DF9"/>
            </a:solidFill>
            <a:ln w="6350" cap="flat">
              <a:no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16C67203-34B2-4F01-BA1C-6FEA3242AA6A}"/>
                </a:ext>
              </a:extLst>
            </p:cNvPr>
            <p:cNvSpPr/>
            <p:nvPr/>
          </p:nvSpPr>
          <p:spPr bwMode="ltGray">
            <a:xfrm>
              <a:off x="2026920" y="6637019"/>
              <a:ext cx="68579" cy="68580"/>
            </a:xfrm>
            <a:custGeom>
              <a:avLst/>
              <a:gdLst>
                <a:gd name="connsiteX0" fmla="*/ 68580 w 68579"/>
                <a:gd name="connsiteY0" fmla="*/ 34290 h 68580"/>
                <a:gd name="connsiteX1" fmla="*/ 34290 w 68579"/>
                <a:gd name="connsiteY1" fmla="*/ 68580 h 68580"/>
                <a:gd name="connsiteX2" fmla="*/ 0 w 68579"/>
                <a:gd name="connsiteY2" fmla="*/ 34290 h 68580"/>
                <a:gd name="connsiteX3" fmla="*/ 34290 w 68579"/>
                <a:gd name="connsiteY3" fmla="*/ 0 h 68580"/>
                <a:gd name="connsiteX4" fmla="*/ 68580 w 68579"/>
                <a:gd name="connsiteY4" fmla="*/ 34290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8580">
                  <a:moveTo>
                    <a:pt x="68580" y="34290"/>
                  </a:moveTo>
                  <a:cubicBezTo>
                    <a:pt x="68580" y="53227"/>
                    <a:pt x="53228" y="68580"/>
                    <a:pt x="34290" y="68580"/>
                  </a:cubicBezTo>
                  <a:cubicBezTo>
                    <a:pt x="15352" y="68580"/>
                    <a:pt x="0" y="53228"/>
                    <a:pt x="0" y="34290"/>
                  </a:cubicBezTo>
                  <a:cubicBezTo>
                    <a:pt x="0" y="15352"/>
                    <a:pt x="15352" y="0"/>
                    <a:pt x="34290" y="0"/>
                  </a:cubicBezTo>
                  <a:cubicBezTo>
                    <a:pt x="53228" y="0"/>
                    <a:pt x="68580" y="15351"/>
                    <a:pt x="68580" y="34290"/>
                  </a:cubicBezTo>
                  <a:close/>
                </a:path>
              </a:pathLst>
            </a:custGeom>
            <a:solidFill>
              <a:srgbClr val="2E4DF9"/>
            </a:solidFill>
            <a:ln w="6350" cap="flat">
              <a:noFill/>
              <a:prstDash val="solid"/>
              <a:miter/>
            </a:ln>
          </p:spPr>
          <p:txBody>
            <a:bodyPr rtlCol="0" anchor="ctr"/>
            <a:lstStyle/>
            <a:p>
              <a:endParaRPr lang="en-GB"/>
            </a:p>
          </p:txBody>
        </p:sp>
        <p:sp>
          <p:nvSpPr>
            <p:cNvPr id="223" name="Freeform: Shape 222">
              <a:extLst>
                <a:ext uri="{FF2B5EF4-FFF2-40B4-BE49-F238E27FC236}">
                  <a16:creationId xmlns:a16="http://schemas.microsoft.com/office/drawing/2014/main" id="{2E3277A4-8A6C-4B77-87E0-5EDC22383AEB}"/>
                </a:ext>
              </a:extLst>
            </p:cNvPr>
            <p:cNvSpPr/>
            <p:nvPr/>
          </p:nvSpPr>
          <p:spPr bwMode="ltGray">
            <a:xfrm>
              <a:off x="2033270" y="6278245"/>
              <a:ext cx="55244" cy="55245"/>
            </a:xfrm>
            <a:custGeom>
              <a:avLst/>
              <a:gdLst>
                <a:gd name="connsiteX0" fmla="*/ 27940 w 55244"/>
                <a:gd name="connsiteY0" fmla="*/ 55245 h 55245"/>
                <a:gd name="connsiteX1" fmla="*/ 55245 w 55244"/>
                <a:gd name="connsiteY1" fmla="*/ 27305 h 55245"/>
                <a:gd name="connsiteX2" fmla="*/ 27940 w 55244"/>
                <a:gd name="connsiteY2" fmla="*/ 0 h 55245"/>
                <a:gd name="connsiteX3" fmla="*/ 0 w 55244"/>
                <a:gd name="connsiteY3" fmla="*/ 27305 h 55245"/>
                <a:gd name="connsiteX4" fmla="*/ 27940 w 55244"/>
                <a:gd name="connsiteY4" fmla="*/ 55245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4" h="55245">
                  <a:moveTo>
                    <a:pt x="27940" y="55245"/>
                  </a:moveTo>
                  <a:cubicBezTo>
                    <a:pt x="43180" y="55245"/>
                    <a:pt x="55245" y="43180"/>
                    <a:pt x="55245" y="27305"/>
                  </a:cubicBezTo>
                  <a:cubicBezTo>
                    <a:pt x="55245" y="12065"/>
                    <a:pt x="43180" y="0"/>
                    <a:pt x="27940" y="0"/>
                  </a:cubicBezTo>
                  <a:cubicBezTo>
                    <a:pt x="12700" y="0"/>
                    <a:pt x="0" y="12065"/>
                    <a:pt x="0" y="27305"/>
                  </a:cubicBezTo>
                  <a:cubicBezTo>
                    <a:pt x="635" y="42545"/>
                    <a:pt x="12700" y="55245"/>
                    <a:pt x="27940" y="55245"/>
                  </a:cubicBezTo>
                  <a:close/>
                </a:path>
              </a:pathLst>
            </a:custGeom>
            <a:solidFill>
              <a:srgbClr val="2E4DF9"/>
            </a:solidFill>
            <a:ln w="6350" cap="flat">
              <a:noFill/>
              <a:prstDash val="solid"/>
              <a:miter/>
            </a:ln>
          </p:spPr>
          <p:txBody>
            <a:bodyPr rtlCol="0" anchor="ctr"/>
            <a:lstStyle/>
            <a:p>
              <a:endParaRPr lang="en-GB"/>
            </a:p>
          </p:txBody>
        </p:sp>
        <p:sp>
          <p:nvSpPr>
            <p:cNvPr id="224" name="Freeform: Shape 223">
              <a:extLst>
                <a:ext uri="{FF2B5EF4-FFF2-40B4-BE49-F238E27FC236}">
                  <a16:creationId xmlns:a16="http://schemas.microsoft.com/office/drawing/2014/main" id="{A3DA31E2-47AD-46DD-BA34-59AFB4916EC7}"/>
                </a:ext>
              </a:extLst>
            </p:cNvPr>
            <p:cNvSpPr/>
            <p:nvPr/>
          </p:nvSpPr>
          <p:spPr bwMode="ltGray">
            <a:xfrm>
              <a:off x="2041525" y="5920104"/>
              <a:ext cx="39370" cy="39370"/>
            </a:xfrm>
            <a:custGeom>
              <a:avLst/>
              <a:gdLst>
                <a:gd name="connsiteX0" fmla="*/ 19685 w 39370"/>
                <a:gd name="connsiteY0" fmla="*/ 39370 h 39370"/>
                <a:gd name="connsiteX1" fmla="*/ 39370 w 39370"/>
                <a:gd name="connsiteY1" fmla="*/ 19685 h 39370"/>
                <a:gd name="connsiteX2" fmla="*/ 19685 w 39370"/>
                <a:gd name="connsiteY2" fmla="*/ 0 h 39370"/>
                <a:gd name="connsiteX3" fmla="*/ 0 w 39370"/>
                <a:gd name="connsiteY3" fmla="*/ 19685 h 39370"/>
                <a:gd name="connsiteX4" fmla="*/ 19685 w 39370"/>
                <a:gd name="connsiteY4" fmla="*/ 39370 h 3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70" h="39370">
                  <a:moveTo>
                    <a:pt x="19685" y="39370"/>
                  </a:moveTo>
                  <a:cubicBezTo>
                    <a:pt x="30480" y="39370"/>
                    <a:pt x="39370" y="30480"/>
                    <a:pt x="39370" y="19685"/>
                  </a:cubicBezTo>
                  <a:cubicBezTo>
                    <a:pt x="39370" y="8890"/>
                    <a:pt x="30480" y="0"/>
                    <a:pt x="19685" y="0"/>
                  </a:cubicBezTo>
                  <a:cubicBezTo>
                    <a:pt x="8890" y="0"/>
                    <a:pt x="0" y="8890"/>
                    <a:pt x="0" y="19685"/>
                  </a:cubicBezTo>
                  <a:cubicBezTo>
                    <a:pt x="0" y="30480"/>
                    <a:pt x="8890" y="39370"/>
                    <a:pt x="19685" y="39370"/>
                  </a:cubicBezTo>
                  <a:close/>
                </a:path>
              </a:pathLst>
            </a:custGeom>
            <a:solidFill>
              <a:srgbClr val="2E4DF9"/>
            </a:solidFill>
            <a:ln w="6350" cap="flat">
              <a:noFill/>
              <a:prstDash val="solid"/>
              <a:miter/>
            </a:ln>
          </p:spPr>
          <p:txBody>
            <a:bodyPr rtlCol="0" anchor="ctr"/>
            <a:lstStyle/>
            <a:p>
              <a:endParaRPr lang="en-GB"/>
            </a:p>
          </p:txBody>
        </p:sp>
        <p:sp>
          <p:nvSpPr>
            <p:cNvPr id="225" name="Freeform: Shape 224">
              <a:extLst>
                <a:ext uri="{FF2B5EF4-FFF2-40B4-BE49-F238E27FC236}">
                  <a16:creationId xmlns:a16="http://schemas.microsoft.com/office/drawing/2014/main" id="{5C143C1C-64AE-4C5A-ADFF-F312B5D04292}"/>
                </a:ext>
              </a:extLst>
            </p:cNvPr>
            <p:cNvSpPr/>
            <p:nvPr/>
          </p:nvSpPr>
          <p:spPr bwMode="ltGray">
            <a:xfrm>
              <a:off x="2411095" y="6656069"/>
              <a:ext cx="31750" cy="31750"/>
            </a:xfrm>
            <a:custGeom>
              <a:avLst/>
              <a:gdLst>
                <a:gd name="connsiteX0" fmla="*/ 15875 w 31750"/>
                <a:gd name="connsiteY0" fmla="*/ 0 h 31750"/>
                <a:gd name="connsiteX1" fmla="*/ 0 w 31750"/>
                <a:gd name="connsiteY1" fmla="*/ 15875 h 31750"/>
                <a:gd name="connsiteX2" fmla="*/ 15875 w 31750"/>
                <a:gd name="connsiteY2" fmla="*/ 31750 h 31750"/>
                <a:gd name="connsiteX3" fmla="*/ 31750 w 31750"/>
                <a:gd name="connsiteY3" fmla="*/ 15875 h 31750"/>
                <a:gd name="connsiteX4" fmla="*/ 15875 w 31750"/>
                <a:gd name="connsiteY4" fmla="*/ 0 h 3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 h="31750">
                  <a:moveTo>
                    <a:pt x="15875" y="0"/>
                  </a:moveTo>
                  <a:cubicBezTo>
                    <a:pt x="6985" y="0"/>
                    <a:pt x="0" y="6986"/>
                    <a:pt x="0" y="15875"/>
                  </a:cubicBezTo>
                  <a:cubicBezTo>
                    <a:pt x="0" y="24765"/>
                    <a:pt x="6985" y="31750"/>
                    <a:pt x="15875" y="31750"/>
                  </a:cubicBezTo>
                  <a:cubicBezTo>
                    <a:pt x="24765" y="31750"/>
                    <a:pt x="31750" y="24765"/>
                    <a:pt x="31750" y="15875"/>
                  </a:cubicBezTo>
                  <a:cubicBezTo>
                    <a:pt x="31750" y="6986"/>
                    <a:pt x="24765" y="0"/>
                    <a:pt x="15875" y="0"/>
                  </a:cubicBezTo>
                  <a:close/>
                </a:path>
              </a:pathLst>
            </a:custGeom>
            <a:solidFill>
              <a:srgbClr val="2E4DF9"/>
            </a:solidFill>
            <a:ln w="6350" cap="flat">
              <a:noFill/>
              <a:prstDash val="solid"/>
              <a:miter/>
            </a:ln>
          </p:spPr>
          <p:txBody>
            <a:bodyPr rtlCol="0" anchor="ctr"/>
            <a:lstStyle/>
            <a:p>
              <a:endParaRPr lang="en-GB"/>
            </a:p>
          </p:txBody>
        </p:sp>
      </p:grpSp>
    </p:spTree>
    <p:extLst>
      <p:ext uri="{BB962C8B-B14F-4D97-AF65-F5344CB8AC3E}">
        <p14:creationId xmlns:p14="http://schemas.microsoft.com/office/powerpoint/2010/main" val="36958335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617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4151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40888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5364781E-90A5-41D2-A141-A44A8A72401C}"/>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B523D21D-208D-4E3E-832F-6FFD3F9D6F5F}"/>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6180071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014F216-FC8E-4B8B-9DEF-D066E1E1EAC5}"/>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6C496831-9C98-458A-83E4-F65432F693C7}"/>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96857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F506800-CC03-4E30-BBD2-35CB47BBCAAF}"/>
              </a:ext>
            </a:extLst>
          </p:cNvPr>
          <p:cNvSpPr>
            <a:spLocks/>
          </p:cNvSpPr>
          <p:nvPr userDrawn="1"/>
        </p:nvSpPr>
        <p:spPr bwMode="ltGray">
          <a:xfrm>
            <a:off x="0" y="0"/>
            <a:ext cx="12192000"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pic>
        <p:nvPicPr>
          <p:cNvPr id="12" name="Graphic 11">
            <a:extLst>
              <a:ext uri="{FF2B5EF4-FFF2-40B4-BE49-F238E27FC236}">
                <a16:creationId xmlns:a16="http://schemas.microsoft.com/office/drawing/2014/main" id="{BE81832D-2BD1-46FE-8833-D52CCCE93315}"/>
              </a:ext>
            </a:extLst>
          </p:cNvPr>
          <p:cNvPicPr>
            <a:picLocks/>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2463914"/>
            <a:ext cx="7717197" cy="1354217"/>
          </a:xfrm>
        </p:spPr>
        <p:txBody>
          <a:bodyPr vert="horz" wrap="square" anchor="ctr">
            <a:spAutoFit/>
          </a:bodyPr>
          <a:lstStyle>
            <a:lvl1pPr>
              <a:lnSpc>
                <a:spcPct val="100000"/>
              </a:lnSpc>
              <a:defRPr sz="4400"/>
            </a:lvl1pPr>
          </a:lstStyle>
          <a:p>
            <a:r>
              <a:rPr lang="en-US"/>
              <a:t>Click to edit Master title style</a:t>
            </a:r>
          </a:p>
        </p:txBody>
      </p:sp>
      <p:sp>
        <p:nvSpPr>
          <p:cNvPr id="10" name="Slide Number">
            <a:extLst>
              <a:ext uri="{FF2B5EF4-FFF2-40B4-BE49-F238E27FC236}">
                <a16:creationId xmlns:a16="http://schemas.microsoft.com/office/drawing/2014/main" id="{D1764442-0AB4-4371-B9F4-8D2A149E165F}"/>
              </a:ext>
            </a:extLst>
          </p:cNvPr>
          <p:cNvSpPr>
            <a:spLocks noChangeArrowheads="1"/>
          </p:cNvSpPr>
          <p:nvPr userDrawn="1">
            <p:custDataLst>
              <p:tags r:id="rId4"/>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pic>
        <p:nvPicPr>
          <p:cNvPr id="18" name="image" descr="{&quot;templafy&quot;:{&quot;id&quot;:&quot;2e404ccb-b54f-4d9c-b286-9094f98b6e06&quot;}}">
            <a:extLst>
              <a:ext uri="{FF2B5EF4-FFF2-40B4-BE49-F238E27FC236}">
                <a16:creationId xmlns:a16="http://schemas.microsoft.com/office/drawing/2014/main" id="{C092A066-7BCA-49B3-8D8F-1514D57793EF}"/>
              </a:ext>
            </a:extLst>
          </p:cNvPr>
          <p:cNvPicPr>
            <a:picLocks noChangeAspect="1"/>
          </p:cNvPicPr>
          <p:nvPr userDrawn="1"/>
        </p:nvPicPr>
        <p:blipFill>
          <a:blip r:embed="rId10"/>
          <a:stretch>
            <a:fillRect/>
          </a:stretch>
        </p:blipFill>
        <p:spPr bwMode="ltGray">
          <a:xfrm>
            <a:off x="336186" y="6415188"/>
            <a:ext cx="1623600" cy="152594"/>
          </a:xfrm>
          <a:prstGeom prst="rect">
            <a:avLst/>
          </a:prstGeom>
        </p:spPr>
      </p:pic>
    </p:spTree>
    <p:extLst>
      <p:ext uri="{BB962C8B-B14F-4D97-AF65-F5344CB8AC3E}">
        <p14:creationId xmlns:p14="http://schemas.microsoft.com/office/powerpoint/2010/main" val="933792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6ACB507B-391C-4541-AC04-D7D72B319FAB}"/>
              </a:ext>
            </a:extLst>
          </p:cNvPr>
          <p:cNvSpPr>
            <a:spLocks noChangeArrowheads="1"/>
          </p:cNvSpPr>
          <p:nvPr userDrawn="1">
            <p:custDataLst>
              <p:tags r:id="rId6"/>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A2BDD359-CFDA-46E9-8049-06E001DBBC62}"/>
              </a:ext>
            </a:extLst>
          </p:cNvPr>
          <p:cNvSpPr txBox="1"/>
          <p:nvPr userDrawn="1">
            <p:custDataLst>
              <p:tags r:id="rId7"/>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0513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359648"/>
            <a:ext cx="2514600" cy="1154162"/>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90316C1-24B3-4E49-A1B0-7483B67142B0}"/>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381186-9D8C-4AD9-8903-39140FC01A17}"/>
              </a:ext>
            </a:extLst>
          </p:cNvPr>
          <p:cNvSpPr txBox="1">
            <a:spLocks/>
          </p:cNvSpPr>
          <p:nvPr userDrawn="1">
            <p:custDataLst>
              <p:tags r:id="rId8"/>
            </p:custDataLst>
          </p:nvPr>
        </p:nvSpPr>
        <p:spPr>
          <a:xfrm>
            <a:off x="554734" y="631388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B8B9BA2A-AE64-4C49-AA17-39350D83E0B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86267270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60576A-2655-46FB-8125-92DCD4AC56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0C2F705A-8F40-4857-8A88-FF03BED45CA3}"/>
              </a:ext>
            </a:extLst>
          </p:cNvPr>
          <p:cNvSpPr txBox="1">
            <a:spLocks/>
          </p:cNvSpPr>
          <p:nvPr userDrawn="1">
            <p:custDataLst>
              <p:tags r:id="rId8"/>
            </p:custDataLst>
          </p:nvPr>
        </p:nvSpPr>
        <p:spPr>
          <a:xfrm>
            <a:off x="554734" y="631388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0D7A6179-5F91-411F-B77A-930478A030DC}"/>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556192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5065776"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14D7570-4EBF-4A30-AE4A-17B453C306C7}"/>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4" name="5. Source" hidden="1">
            <a:extLst>
              <a:ext uri="{FF2B5EF4-FFF2-40B4-BE49-F238E27FC236}">
                <a16:creationId xmlns:a16="http://schemas.microsoft.com/office/drawing/2014/main" id="{66AC8B38-CB68-45E2-9052-C37D4CCCCBF7}"/>
              </a:ext>
            </a:extLst>
          </p:cNvPr>
          <p:cNvSpPr txBox="1">
            <a:spLocks/>
          </p:cNvSpPr>
          <p:nvPr userDrawn="1">
            <p:custDataLst>
              <p:tags r:id="rId8"/>
            </p:custDataLst>
          </p:nvPr>
        </p:nvSpPr>
        <p:spPr>
          <a:xfrm>
            <a:off x="554734" y="631388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5" name="image" descr="{&quot;templafy&quot;:{&quot;id&quot;:&quot;2e404ccb-b54f-4d9c-b286-9094f98b6e06&quot;}}">
            <a:extLst>
              <a:ext uri="{FF2B5EF4-FFF2-40B4-BE49-F238E27FC236}">
                <a16:creationId xmlns:a16="http://schemas.microsoft.com/office/drawing/2014/main" id="{CE56D557-CD82-43A6-9302-40E0E1459A96}"/>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9821423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86172"/>
            <a:ext cx="6967728" cy="384721"/>
          </a:xfrm>
        </p:spPr>
        <p:txBody>
          <a:bodyPr vert="horz">
            <a:no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a:ln>
                <a:noFill/>
              </a:ln>
              <a:solidFill>
                <a:srgbClr val="F0F0F0"/>
              </a:solidFill>
              <a:effectLst/>
              <a:uLnTx/>
              <a:uFillTx/>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4151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54A1AAA-E565-475F-AA88-6942EF2F73F2}"/>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1414188E-2876-47EB-A015-E646B40224A7}"/>
              </a:ext>
            </a:extLst>
          </p:cNvPr>
          <p:cNvSpPr txBox="1">
            <a:spLocks/>
          </p:cNvSpPr>
          <p:nvPr userDrawn="1">
            <p:custDataLst>
              <p:tags r:id="rId8"/>
            </p:custDataLst>
          </p:nvPr>
        </p:nvSpPr>
        <p:spPr>
          <a:xfrm>
            <a:off x="554734" y="631388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336F979-CDE3-46C1-83FB-DEC807E1BEC3}"/>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6637741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CEC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86172"/>
            <a:ext cx="7918704" cy="384721"/>
          </a:xfrm>
        </p:spPr>
        <p:txBody>
          <a:bodyPr vert="horz">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4151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57F95368-246E-4FAB-9FBC-0A5AB169BDE9}"/>
              </a:ext>
            </a:extLst>
          </p:cNvPr>
          <p:cNvSpPr>
            <a:spLocks noChangeArrowheads="1"/>
          </p:cNvSpPr>
          <p:nvPr userDrawn="1">
            <p:custDataLst>
              <p:tags r:id="rId7"/>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3" name="5. Source" hidden="1">
            <a:extLst>
              <a:ext uri="{FF2B5EF4-FFF2-40B4-BE49-F238E27FC236}">
                <a16:creationId xmlns:a16="http://schemas.microsoft.com/office/drawing/2014/main" id="{3DCF2CB0-6754-4D70-9AC5-FB878BD332D1}"/>
              </a:ext>
            </a:extLst>
          </p:cNvPr>
          <p:cNvSpPr txBox="1">
            <a:spLocks/>
          </p:cNvSpPr>
          <p:nvPr userDrawn="1">
            <p:custDataLst>
              <p:tags r:id="rId8"/>
            </p:custDataLst>
          </p:nvPr>
        </p:nvSpPr>
        <p:spPr>
          <a:xfrm>
            <a:off x="554734" y="631388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4" name="image" descr="{&quot;templafy&quot;:{&quot;id&quot;:&quot;2e404ccb-b54f-4d9c-b286-9094f98b6e06&quot;}}">
            <a:extLst>
              <a:ext uri="{FF2B5EF4-FFF2-40B4-BE49-F238E27FC236}">
                <a16:creationId xmlns:a16="http://schemas.microsoft.com/office/drawing/2014/main" id="{65A6BD0E-9BE8-480A-9DEA-772C2A05DB8E}"/>
              </a:ext>
            </a:extLst>
          </p:cNvPr>
          <p:cNvPicPr>
            <a:picLocks noChangeAspect="1"/>
          </p:cNvPicPr>
          <p:nvPr userDrawn="1"/>
        </p:nvPicPr>
        <p:blipFill>
          <a:blip r:embed="rId1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38731053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86172"/>
            <a:ext cx="11082528" cy="384721"/>
          </a:xfrm>
        </p:spPr>
        <p:txBody>
          <a:bodyPr vert="horz">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50EDCE2-BE46-4BAE-A7BD-B50D0CEFB6FD}"/>
              </a:ext>
            </a:extLst>
          </p:cNvPr>
          <p:cNvSpPr>
            <a:spLocks noChangeArrowheads="1"/>
          </p:cNvSpPr>
          <p:nvPr userDrawn="1">
            <p:custDataLst>
              <p:tags r:id="rId5"/>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2" name="5. Source" hidden="1">
            <a:extLst>
              <a:ext uri="{FF2B5EF4-FFF2-40B4-BE49-F238E27FC236}">
                <a16:creationId xmlns:a16="http://schemas.microsoft.com/office/drawing/2014/main" id="{7C848106-FEDB-4A24-9354-B5F467500F95}"/>
              </a:ext>
            </a:extLst>
          </p:cNvPr>
          <p:cNvSpPr txBox="1"/>
          <p:nvPr userDrawn="1">
            <p:custDataLst>
              <p:tags r:id="rId6"/>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3" name="image" descr="{&quot;templafy&quot;:{&quot;id&quot;:&quot;2e404ccb-b54f-4d9c-b286-9094f98b6e06&quot;}}">
            <a:extLst>
              <a:ext uri="{FF2B5EF4-FFF2-40B4-BE49-F238E27FC236}">
                <a16:creationId xmlns:a16="http://schemas.microsoft.com/office/drawing/2014/main" id="{8ADD7143-832A-482F-B5A8-8D5AABB3DDC8}"/>
              </a:ext>
            </a:extLst>
          </p:cNvPr>
          <p:cNvPicPr>
            <a:picLocks noChangeAspect="1"/>
          </p:cNvPicPr>
          <p:nvPr userDrawn="1"/>
        </p:nvPicPr>
        <p:blipFill>
          <a:blip r:embed="rId10"/>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12959614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7CC65054-8421-4833-BD29-70DD436393CF}"/>
              </a:ext>
            </a:extLst>
          </p:cNvPr>
          <p:cNvSpPr>
            <a:spLocks noChangeArrowheads="1"/>
          </p:cNvSpPr>
          <p:nvPr userDrawn="1">
            <p:custDataLst>
              <p:tags r:id="rId3"/>
            </p:custDataLst>
          </p:nvPr>
        </p:nvSpPr>
        <p:spPr bwMode="black">
          <a:xfrm>
            <a:off x="11312525" y="6566490"/>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sp>
        <p:nvSpPr>
          <p:cNvPr id="10" name="5. Source" hidden="1">
            <a:extLst>
              <a:ext uri="{FF2B5EF4-FFF2-40B4-BE49-F238E27FC236}">
                <a16:creationId xmlns:a16="http://schemas.microsoft.com/office/drawing/2014/main" id="{7D7D25DA-E5AA-4E95-BCC1-9F159CD5BA74}"/>
              </a:ext>
            </a:extLst>
          </p:cNvPr>
          <p:cNvSpPr txBox="1"/>
          <p:nvPr userDrawn="1">
            <p:custDataLst>
              <p:tags r:id="rId4"/>
            </p:custDataLst>
          </p:nvPr>
        </p:nvSpPr>
        <p:spPr>
          <a:xfrm>
            <a:off x="554734" y="6313887"/>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1" name="image" descr="{&quot;templafy&quot;:{&quot;id&quot;:&quot;2e404ccb-b54f-4d9c-b286-9094f98b6e06&quot;}}">
            <a:extLst>
              <a:ext uri="{FF2B5EF4-FFF2-40B4-BE49-F238E27FC236}">
                <a16:creationId xmlns:a16="http://schemas.microsoft.com/office/drawing/2014/main" id="{C855C733-8026-4B78-B285-0BE9A6090CFC}"/>
              </a:ext>
            </a:extLst>
          </p:cNvPr>
          <p:cNvPicPr>
            <a:picLocks noChangeAspect="1"/>
          </p:cNvPicPr>
          <p:nvPr userDrawn="1"/>
        </p:nvPicPr>
        <p:blipFill>
          <a:blip r:embed="rId8"/>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26626202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FE2BE697-15A4-431C-80BD-536B0464483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flipV="1">
            <a:off x="71438" y="34890"/>
            <a:ext cx="12049125" cy="6788220"/>
          </a:xfrm>
          <a:prstGeom prst="rect">
            <a:avLst/>
          </a:prstGeom>
        </p:spPr>
      </p:pic>
      <p:sp>
        <p:nvSpPr>
          <p:cNvPr id="6" name="TextBox 5">
            <a:extLst>
              <a:ext uri="{FF2B5EF4-FFF2-40B4-BE49-F238E27FC236}">
                <a16:creationId xmlns:a16="http://schemas.microsoft.com/office/drawing/2014/main" id="{15AC8D5F-85DB-4D6C-9C8B-3518998BD72B}"/>
              </a:ext>
            </a:extLst>
          </p:cNvPr>
          <p:cNvSpPr txBox="1"/>
          <p:nvPr userDrawn="1"/>
        </p:nvSpPr>
        <p:spPr>
          <a:xfrm>
            <a:off x="3795977" y="5633832"/>
            <a:ext cx="1741715" cy="607859"/>
          </a:xfrm>
          <a:prstGeom prst="rect">
            <a:avLst/>
          </a:prstGeom>
          <a:noFill/>
        </p:spPr>
        <p:txBody>
          <a:bodyPr wrap="square" lIns="0" tIns="0" rIns="0" bIns="0" rtlCol="0">
            <a:sp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8">
                  <a:extLst>
                    <a:ext uri="{A12FA001-AC4F-418D-AE19-62706E023703}">
                      <ahyp:hlinkClr xmlns:ahyp="http://schemas.microsoft.com/office/drawing/2018/hyperlinkcolor" val="tx"/>
                    </a:ext>
                  </a:extLst>
                </a:hlinkClick>
              </a:rPr>
              <a:t>theglobalfund.org</a:t>
            </a:r>
            <a:endParaRPr lang="en-US" sz="800" u="none">
              <a:solidFill>
                <a:schemeClr val="tx1"/>
              </a:solidFill>
            </a:endParaRPr>
          </a:p>
        </p:txBody>
      </p:sp>
      <p:pic>
        <p:nvPicPr>
          <p:cNvPr id="7" name="image" descr="{&quot;templafy&quot;:{&quot;id&quot;:&quot;4caf8c4c-7bad-4d3c-8ecb-65528a365568&quot;}}">
            <a:extLst>
              <a:ext uri="{FF2B5EF4-FFF2-40B4-BE49-F238E27FC236}">
                <a16:creationId xmlns:a16="http://schemas.microsoft.com/office/drawing/2014/main" id="{C58FDD65-E9E5-4A2C-8D29-1AD661A8B139}"/>
              </a:ext>
            </a:extLst>
          </p:cNvPr>
          <p:cNvPicPr>
            <a:picLocks noChangeAspect="1"/>
          </p:cNvPicPr>
          <p:nvPr userDrawn="1"/>
        </p:nvPicPr>
        <p:blipFill>
          <a:blip r:embed="rId9"/>
          <a:stretch>
            <a:fillRect/>
          </a:stretch>
        </p:blipFill>
        <p:spPr bwMode="ltGray">
          <a:xfrm>
            <a:off x="358775" y="5633832"/>
            <a:ext cx="2253600" cy="773055"/>
          </a:xfrm>
          <a:prstGeom prst="rect">
            <a:avLst/>
          </a:prstGeom>
        </p:spPr>
      </p:pic>
      <p:sp>
        <p:nvSpPr>
          <p:cNvPr id="9" name="2. Slide Title">
            <a:extLst>
              <a:ext uri="{FF2B5EF4-FFF2-40B4-BE49-F238E27FC236}">
                <a16:creationId xmlns:a16="http://schemas.microsoft.com/office/drawing/2014/main" id="{BEF30068-7E5F-4DE5-93CC-AF51ED938427}"/>
              </a:ext>
            </a:extLst>
          </p:cNvPr>
          <p:cNvSpPr>
            <a:spLocks noGrp="1"/>
          </p:cNvSpPr>
          <p:nvPr>
            <p:ph type="title"/>
            <p:custDataLst>
              <p:tags r:id="rId2"/>
            </p:custDataLst>
          </p:nvPr>
        </p:nvSpPr>
        <p:spPr>
          <a:xfrm>
            <a:off x="358775" y="1557338"/>
            <a:ext cx="11082528" cy="2708434"/>
          </a:xfrm>
        </p:spPr>
        <p:txBody>
          <a:bodyPr vert="horz">
            <a:spAutoFit/>
          </a:bodyPr>
          <a:lstStyle>
            <a:lvl1pPr>
              <a:defRPr sz="8800"/>
            </a:lvl1pPr>
          </a:lstStyle>
          <a:p>
            <a:r>
              <a:rPr lang="en-US"/>
              <a:t>Click to edit Master title style</a:t>
            </a:r>
          </a:p>
        </p:txBody>
      </p:sp>
    </p:spTree>
    <p:extLst>
      <p:ext uri="{BB962C8B-B14F-4D97-AF65-F5344CB8AC3E}">
        <p14:creationId xmlns:p14="http://schemas.microsoft.com/office/powerpoint/2010/main" val="737817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cSld name="Section Header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550E51-5ECC-486E-B147-0EDF410CCFC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3F550E51-5ECC-486E-B147-0EDF410CCF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Tree>
    <p:extLst>
      <p:ext uri="{BB962C8B-B14F-4D97-AF65-F5344CB8AC3E}">
        <p14:creationId xmlns:p14="http://schemas.microsoft.com/office/powerpoint/2010/main" val="27271828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AB4BD9-BDAF-404E-BADB-032CC874BF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CAB4BD9-BDAF-404E-BADB-032CC874B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vert="horz">
            <a:noAutofit/>
          </a:bodyPr>
          <a:lstStyle>
            <a:lvl1pPr rtl="0">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rtl="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5613359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Header 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38C62C-5755-4F4B-AC9D-54F53C9A0E9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438C62C-5755-4F4B-AC9D-54F53C9A0E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lvl1pPr rtl="0">
              <a:defRPr/>
            </a:lvl1pPr>
          </a:lstStyle>
          <a:p>
            <a:fld id="{9E2BE927-25C7-4379-86F1-C17ED9D2A7F2}" type="slidenum">
              <a:rPr lang="en-US" smtClean="0"/>
              <a:pPr/>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vert="horz" anchor="t" anchorCtr="0">
            <a:noAutofit/>
          </a:bodyPr>
          <a:lstStyle>
            <a:lvl1pPr rtl="0">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rtl="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9764628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Titl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919FEF-E4FE-46B9-870E-59E4FE9C069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919FEF-E4FE-46B9-870E-59E4FE9C06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vert="horz" anchor="ctr" anchorCtr="0">
            <a:noAutofit/>
          </a:bodyPr>
          <a:lstStyle>
            <a:lvl1pPr algn="l" rtl="0">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rtl="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10133317" name="image" descr="{&quot;templafy&quot;:{&quot;id&quot;:&quot;9cfd9b76-dd04-4a6a-8924-08a02373e5a2&quot;}}"/>
          <p:cNvPicPr>
            <a:picLocks noChangeAspect="1"/>
          </p:cNvPicPr>
          <p:nvPr/>
        </p:nvPicPr>
        <p:blipFill>
          <a:blip r:embed="rId6"/>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9814167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0655218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1893301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33997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88606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12571102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474059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01274085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137440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4940964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388836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2595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3777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3885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0077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57585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8/2/2024</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41702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723499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599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1340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6499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3924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13288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6312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122466568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2850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378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8693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59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0130785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938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0405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6802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8684170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2670627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39585529" name="image" descr="{&quot;templafy&quot;:{&quot;id&quot;:&quot;0bee1537-c49e-4d05-a4fc-a897e888bfce&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0303936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98353974" name="image" descr="{&quot;templafy&quot;:{&quot;id&quot;:&quot;35c3ff94-b226-4d01-b16b-a3160d29fa9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8239637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60511325" name="image" descr="{&quot;templafy&quot;:{&quot;id&quot;:&quot;fa6f53c7-3aa5-4cd2-b994-7ea14f7e910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6410849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64153588" name="image" descr="{&quot;templafy&quot;:{&quot;id&quot;:&quot;8179d488-8a7e-45e3-b544-c94bae3d15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910350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49888944" name="image" descr="{&quot;templafy&quot;:{&quot;id&quot;:&quot;3ebab260-d43a-430c-af37-aa641f4c247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69887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73321737" name="image" descr="{&quot;templafy&quot;:{&quot;id&quot;:&quot;df1443ad-b83b-4631-8178-2d95ae353ad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186108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1110160" name="image" descr="{&quot;templafy&quot;:{&quot;id&quot;:&quot;f416d1a3-24e7-4ef3-ac64-f349e327e57a&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776966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allout Paragraph + Text">
    <p:spTree>
      <p:nvGrpSpPr>
        <p:cNvPr id="1" name=""/>
        <p:cNvGrpSpPr/>
        <p:nvPr/>
      </p:nvGrpSpPr>
      <p:grpSpPr>
        <a:xfrm>
          <a:off x="0" y="0"/>
          <a:ext cx="0" cy="0"/>
          <a:chOff x="0" y="0"/>
          <a:chExt cx="0" cy="0"/>
        </a:xfrm>
      </p:grpSpPr>
      <p:sp>
        <p:nvSpPr>
          <p:cNvPr id="61" name="Text Placeholder 60">
            <a:extLst>
              <a:ext uri="{FF2B5EF4-FFF2-40B4-BE49-F238E27FC236}">
                <a16:creationId xmlns:a16="http://schemas.microsoft.com/office/drawing/2014/main" id="{4B69063E-B7A3-574C-A634-6568CC5D97BD}"/>
              </a:ext>
            </a:extLst>
          </p:cNvPr>
          <p:cNvSpPr>
            <a:spLocks noGrp="1"/>
          </p:cNvSpPr>
          <p:nvPr>
            <p:ph type="body" sz="quarter" idx="24"/>
          </p:nvPr>
        </p:nvSpPr>
        <p:spPr>
          <a:xfrm>
            <a:off x="587374" y="2520000"/>
            <a:ext cx="3063573" cy="2653200"/>
          </a:xfrm>
          <a:solidFill>
            <a:srgbClr val="007D82"/>
          </a:solidFill>
        </p:spPr>
        <p:txBody>
          <a:bodyPr lIns="180000" tIns="144000" rIns="180000" bIns="144000"/>
          <a:lstStyle>
            <a:lvl1pPr>
              <a:defRPr sz="16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47091FA2-7A8B-254F-B972-F59401137FCD}"/>
              </a:ext>
            </a:extLst>
          </p:cNvPr>
          <p:cNvGrpSpPr/>
          <p:nvPr userDrawn="1"/>
        </p:nvGrpSpPr>
        <p:grpSpPr>
          <a:xfrm>
            <a:off x="-366627" y="-360000"/>
            <a:ext cx="12913200" cy="7578000"/>
            <a:chOff x="-360000" y="-360000"/>
            <a:chExt cx="12913200" cy="7578000"/>
          </a:xfrm>
        </p:grpSpPr>
        <p:grpSp>
          <p:nvGrpSpPr>
            <p:cNvPr id="4" name="Group 3">
              <a:extLst>
                <a:ext uri="{FF2B5EF4-FFF2-40B4-BE49-F238E27FC236}">
                  <a16:creationId xmlns:a16="http://schemas.microsoft.com/office/drawing/2014/main" id="{8D90501F-B110-B348-9594-35423D3C9DF5}"/>
                </a:ext>
              </a:extLst>
            </p:cNvPr>
            <p:cNvGrpSpPr/>
            <p:nvPr userDrawn="1"/>
          </p:nvGrpSpPr>
          <p:grpSpPr>
            <a:xfrm>
              <a:off x="-360000" y="-360000"/>
              <a:ext cx="12552000" cy="7041363"/>
              <a:chOff x="-360000" y="-360000"/>
              <a:chExt cx="12552000" cy="7041363"/>
            </a:xfrm>
          </p:grpSpPr>
          <p:grpSp>
            <p:nvGrpSpPr>
              <p:cNvPr id="8" name="Group 7">
                <a:extLst>
                  <a:ext uri="{FF2B5EF4-FFF2-40B4-BE49-F238E27FC236}">
                    <a16:creationId xmlns:a16="http://schemas.microsoft.com/office/drawing/2014/main" id="{00564CC9-AD79-4E45-A929-0A73FA444133}"/>
                  </a:ext>
                </a:extLst>
              </p:cNvPr>
              <p:cNvGrpSpPr/>
              <p:nvPr userDrawn="1"/>
            </p:nvGrpSpPr>
            <p:grpSpPr>
              <a:xfrm>
                <a:off x="0" y="-360000"/>
                <a:ext cx="12192000" cy="180000"/>
                <a:chOff x="0" y="-360000"/>
                <a:chExt cx="12192000" cy="180000"/>
              </a:xfrm>
            </p:grpSpPr>
            <p:cxnSp>
              <p:nvCxnSpPr>
                <p:cNvPr id="22" name="Straight Connector 21">
                  <a:extLst>
                    <a:ext uri="{FF2B5EF4-FFF2-40B4-BE49-F238E27FC236}">
                      <a16:creationId xmlns:a16="http://schemas.microsoft.com/office/drawing/2014/main" id="{CE4369FA-222E-E948-B9C1-23511CFDC85D}"/>
                    </a:ext>
                  </a:extLst>
                </p:cNvPr>
                <p:cNvCxnSpPr/>
                <p:nvPr userDrawn="1"/>
              </p:nvCxnSpPr>
              <p:spPr>
                <a:xfrm>
                  <a:off x="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4BF27477-5FF7-814A-B3D9-F8C2436ABD9C}"/>
                    </a:ext>
                  </a:extLst>
                </p:cNvPr>
                <p:cNvCxnSpPr/>
                <p:nvPr userDrawn="1"/>
              </p:nvCxnSpPr>
              <p:spPr>
                <a:xfrm>
                  <a:off x="609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A9214B9-4D10-6A45-81E3-9A1B72A73C3F}"/>
                    </a:ext>
                  </a:extLst>
                </p:cNvPr>
                <p:cNvCxnSpPr/>
                <p:nvPr userDrawn="1"/>
              </p:nvCxnSpPr>
              <p:spPr>
                <a:xfrm>
                  <a:off x="1219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924955E-B0C3-9542-90AB-3A94B8E85089}"/>
                    </a:ext>
                  </a:extLst>
                </p:cNvPr>
                <p:cNvCxnSpPr/>
                <p:nvPr userDrawn="1"/>
              </p:nvCxnSpPr>
              <p:spPr>
                <a:xfrm>
                  <a:off x="1828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40E95E8E-7C8B-684A-965A-DCFAEF616CF2}"/>
                    </a:ext>
                  </a:extLst>
                </p:cNvPr>
                <p:cNvCxnSpPr/>
                <p:nvPr userDrawn="1"/>
              </p:nvCxnSpPr>
              <p:spPr>
                <a:xfrm>
                  <a:off x="2438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8BED12A-5252-C24C-BBA6-017F2C56D584}"/>
                    </a:ext>
                  </a:extLst>
                </p:cNvPr>
                <p:cNvCxnSpPr/>
                <p:nvPr userDrawn="1"/>
              </p:nvCxnSpPr>
              <p:spPr>
                <a:xfrm>
                  <a:off x="3048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BE55F50-3897-E847-8E0C-59E420FCD3EB}"/>
                    </a:ext>
                  </a:extLst>
                </p:cNvPr>
                <p:cNvCxnSpPr/>
                <p:nvPr userDrawn="1"/>
              </p:nvCxnSpPr>
              <p:spPr>
                <a:xfrm>
                  <a:off x="3657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48E402A2-AA33-5140-8B28-E63FE50CC697}"/>
                    </a:ext>
                  </a:extLst>
                </p:cNvPr>
                <p:cNvCxnSpPr/>
                <p:nvPr userDrawn="1"/>
              </p:nvCxnSpPr>
              <p:spPr>
                <a:xfrm>
                  <a:off x="4267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B37B78F-F327-5240-92BD-E7AA1AA67967}"/>
                    </a:ext>
                  </a:extLst>
                </p:cNvPr>
                <p:cNvCxnSpPr/>
                <p:nvPr userDrawn="1"/>
              </p:nvCxnSpPr>
              <p:spPr>
                <a:xfrm>
                  <a:off x="4876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66858BB6-42CC-FF49-AB43-065458E3CBF6}"/>
                    </a:ext>
                  </a:extLst>
                </p:cNvPr>
                <p:cNvCxnSpPr/>
                <p:nvPr userDrawn="1"/>
              </p:nvCxnSpPr>
              <p:spPr>
                <a:xfrm>
                  <a:off x="5486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DDC49498-9A96-4F4B-81A4-26D9E0E618D3}"/>
                    </a:ext>
                  </a:extLst>
                </p:cNvPr>
                <p:cNvCxnSpPr/>
                <p:nvPr userDrawn="1"/>
              </p:nvCxnSpPr>
              <p:spPr>
                <a:xfrm>
                  <a:off x="6096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8456579-0EDF-B541-9B27-E91E742C9BB6}"/>
                    </a:ext>
                  </a:extLst>
                </p:cNvPr>
                <p:cNvCxnSpPr/>
                <p:nvPr userDrawn="1"/>
              </p:nvCxnSpPr>
              <p:spPr>
                <a:xfrm>
                  <a:off x="6705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35D9DF4E-0F99-9E40-B549-8334240B974C}"/>
                    </a:ext>
                  </a:extLst>
                </p:cNvPr>
                <p:cNvCxnSpPr/>
                <p:nvPr userDrawn="1"/>
              </p:nvCxnSpPr>
              <p:spPr>
                <a:xfrm>
                  <a:off x="7315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AC8D9C9-C681-EC41-9F5C-1861003DFB81}"/>
                    </a:ext>
                  </a:extLst>
                </p:cNvPr>
                <p:cNvCxnSpPr/>
                <p:nvPr userDrawn="1"/>
              </p:nvCxnSpPr>
              <p:spPr>
                <a:xfrm>
                  <a:off x="7924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5477CA2E-BBB4-9042-9CFB-37694FD30099}"/>
                    </a:ext>
                  </a:extLst>
                </p:cNvPr>
                <p:cNvCxnSpPr/>
                <p:nvPr userDrawn="1"/>
              </p:nvCxnSpPr>
              <p:spPr>
                <a:xfrm>
                  <a:off x="8534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2C98666-7A41-0249-B412-A07E9192C68E}"/>
                    </a:ext>
                  </a:extLst>
                </p:cNvPr>
                <p:cNvCxnSpPr/>
                <p:nvPr userDrawn="1"/>
              </p:nvCxnSpPr>
              <p:spPr>
                <a:xfrm>
                  <a:off x="9144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3D2A260D-E5FB-2C4C-B3A7-63697B07581A}"/>
                    </a:ext>
                  </a:extLst>
                </p:cNvPr>
                <p:cNvCxnSpPr/>
                <p:nvPr userDrawn="1"/>
              </p:nvCxnSpPr>
              <p:spPr>
                <a:xfrm>
                  <a:off x="97536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8B8705CE-3C9B-3842-905B-E36BDC60CA1E}"/>
                    </a:ext>
                  </a:extLst>
                </p:cNvPr>
                <p:cNvCxnSpPr/>
                <p:nvPr userDrawn="1"/>
              </p:nvCxnSpPr>
              <p:spPr>
                <a:xfrm>
                  <a:off x="103632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B5FFA08-69BB-C545-9F1A-73BAEE159E3E}"/>
                    </a:ext>
                  </a:extLst>
                </p:cNvPr>
                <p:cNvCxnSpPr/>
                <p:nvPr userDrawn="1"/>
              </p:nvCxnSpPr>
              <p:spPr>
                <a:xfrm>
                  <a:off x="109728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B2D2AEE3-D054-1245-9440-05C8E5B98935}"/>
                    </a:ext>
                  </a:extLst>
                </p:cNvPr>
                <p:cNvCxnSpPr/>
                <p:nvPr userDrawn="1"/>
              </p:nvCxnSpPr>
              <p:spPr>
                <a:xfrm>
                  <a:off x="115824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BE2E133-811B-D740-B333-C8910A607837}"/>
                    </a:ext>
                  </a:extLst>
                </p:cNvPr>
                <p:cNvCxnSpPr/>
                <p:nvPr userDrawn="1"/>
              </p:nvCxnSpPr>
              <p:spPr>
                <a:xfrm>
                  <a:off x="12192000" y="-360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A371F3F-8805-8F47-9842-AFCC0C9C5F0A}"/>
                  </a:ext>
                </a:extLst>
              </p:cNvPr>
              <p:cNvGrpSpPr/>
              <p:nvPr userDrawn="1"/>
            </p:nvGrpSpPr>
            <p:grpSpPr>
              <a:xfrm>
                <a:off x="-360000" y="0"/>
                <a:ext cx="180000" cy="6681363"/>
                <a:chOff x="-360000" y="0"/>
                <a:chExt cx="180000" cy="6681363"/>
              </a:xfrm>
            </p:grpSpPr>
            <p:cxnSp>
              <p:nvCxnSpPr>
                <p:cNvPr id="10" name="Straight Connector 9">
                  <a:extLst>
                    <a:ext uri="{FF2B5EF4-FFF2-40B4-BE49-F238E27FC236}">
                      <a16:creationId xmlns:a16="http://schemas.microsoft.com/office/drawing/2014/main" id="{E6AFE193-BB4C-8041-AFBF-176A7646431A}"/>
                    </a:ext>
                  </a:extLst>
                </p:cNvPr>
                <p:cNvCxnSpPr/>
                <p:nvPr userDrawn="1"/>
              </p:nvCxnSpPr>
              <p:spPr>
                <a:xfrm>
                  <a:off x="-360000" y="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8C4B343-83B1-B24D-95E5-0DBF601F3A23}"/>
                    </a:ext>
                  </a:extLst>
                </p:cNvPr>
                <p:cNvCxnSpPr/>
                <p:nvPr userDrawn="1"/>
              </p:nvCxnSpPr>
              <p:spPr>
                <a:xfrm>
                  <a:off x="-360000" y="607397"/>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C1E444E-955A-DC43-8EF5-178B24920546}"/>
                    </a:ext>
                  </a:extLst>
                </p:cNvPr>
                <p:cNvCxnSpPr/>
                <p:nvPr userDrawn="1"/>
              </p:nvCxnSpPr>
              <p:spPr>
                <a:xfrm>
                  <a:off x="-360000" y="1214794"/>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64C74FB-813E-FA4E-9A56-B5A0DFB70E01}"/>
                    </a:ext>
                  </a:extLst>
                </p:cNvPr>
                <p:cNvCxnSpPr/>
                <p:nvPr userDrawn="1"/>
              </p:nvCxnSpPr>
              <p:spPr>
                <a:xfrm>
                  <a:off x="-360000" y="1822191"/>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DE2696AA-A8F0-E243-9EE9-FBD0DC315F48}"/>
                    </a:ext>
                  </a:extLst>
                </p:cNvPr>
                <p:cNvCxnSpPr/>
                <p:nvPr userDrawn="1"/>
              </p:nvCxnSpPr>
              <p:spPr>
                <a:xfrm>
                  <a:off x="-360000" y="2429588"/>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3C10C08-85B1-564B-B9DB-F902BB6475F6}"/>
                    </a:ext>
                  </a:extLst>
                </p:cNvPr>
                <p:cNvCxnSpPr/>
                <p:nvPr userDrawn="1"/>
              </p:nvCxnSpPr>
              <p:spPr>
                <a:xfrm>
                  <a:off x="-360000" y="3036985"/>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17D26369-7700-1F44-BD86-287B6C78EE43}"/>
                    </a:ext>
                  </a:extLst>
                </p:cNvPr>
                <p:cNvCxnSpPr/>
                <p:nvPr userDrawn="1"/>
              </p:nvCxnSpPr>
              <p:spPr>
                <a:xfrm>
                  <a:off x="-360000" y="3644382"/>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5B251DA8-0F20-A245-8B76-AC41A8D799D5}"/>
                    </a:ext>
                  </a:extLst>
                </p:cNvPr>
                <p:cNvCxnSpPr/>
                <p:nvPr userDrawn="1"/>
              </p:nvCxnSpPr>
              <p:spPr>
                <a:xfrm>
                  <a:off x="-360000" y="4251779"/>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B7D292B-2F51-3F44-B257-F3A88D13E784}"/>
                    </a:ext>
                  </a:extLst>
                </p:cNvPr>
                <p:cNvCxnSpPr/>
                <p:nvPr userDrawn="1"/>
              </p:nvCxnSpPr>
              <p:spPr>
                <a:xfrm>
                  <a:off x="-360000" y="4859176"/>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8A0B51D-D80E-854B-941F-3B5A269ACF75}"/>
                    </a:ext>
                  </a:extLst>
                </p:cNvPr>
                <p:cNvCxnSpPr/>
                <p:nvPr userDrawn="1"/>
              </p:nvCxnSpPr>
              <p:spPr>
                <a:xfrm>
                  <a:off x="-360000" y="546657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18AFEDA0-82B3-5A47-9B5E-BCE53CB5DE0C}"/>
                    </a:ext>
                  </a:extLst>
                </p:cNvPr>
                <p:cNvCxnSpPr/>
                <p:nvPr userDrawn="1"/>
              </p:nvCxnSpPr>
              <p:spPr>
                <a:xfrm>
                  <a:off x="-360000" y="607397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CEF18844-16AB-BB47-ABD0-67372DC4D28F}"/>
                    </a:ext>
                  </a:extLst>
                </p:cNvPr>
                <p:cNvCxnSpPr/>
                <p:nvPr userDrawn="1"/>
              </p:nvCxnSpPr>
              <p:spPr>
                <a:xfrm>
                  <a:off x="-360000" y="6681363"/>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5" name="Group 4">
              <a:extLst>
                <a:ext uri="{FF2B5EF4-FFF2-40B4-BE49-F238E27FC236}">
                  <a16:creationId xmlns:a16="http://schemas.microsoft.com/office/drawing/2014/main" id="{41DBFCE4-D494-D74A-82C5-50AB3DE5A1E3}"/>
                </a:ext>
              </a:extLst>
            </p:cNvPr>
            <p:cNvGrpSpPr/>
            <p:nvPr userDrawn="1"/>
          </p:nvGrpSpPr>
          <p:grpSpPr>
            <a:xfrm>
              <a:off x="12192000" y="6858000"/>
              <a:ext cx="361200" cy="360000"/>
              <a:chOff x="12192000" y="6858000"/>
              <a:chExt cx="361200" cy="360000"/>
            </a:xfrm>
          </p:grpSpPr>
          <p:cxnSp>
            <p:nvCxnSpPr>
              <p:cNvPr id="6" name="Straight Connector 5">
                <a:extLst>
                  <a:ext uri="{FF2B5EF4-FFF2-40B4-BE49-F238E27FC236}">
                    <a16:creationId xmlns:a16="http://schemas.microsoft.com/office/drawing/2014/main" id="{B310570E-0934-A84A-83D9-68DBEA996838}"/>
                  </a:ext>
                </a:extLst>
              </p:cNvPr>
              <p:cNvCxnSpPr/>
              <p:nvPr userDrawn="1"/>
            </p:nvCxnSpPr>
            <p:spPr>
              <a:xfrm>
                <a:off x="12373200" y="6858000"/>
                <a:ext cx="1800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9F603B-1E43-6649-A728-0326A0158BA3}"/>
                  </a:ext>
                </a:extLst>
              </p:cNvPr>
              <p:cNvCxnSpPr/>
              <p:nvPr userDrawn="1"/>
            </p:nvCxnSpPr>
            <p:spPr>
              <a:xfrm>
                <a:off x="12192000" y="7038000"/>
                <a:ext cx="0" cy="1800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grpSp>
      </p:grpSp>
      <p:sp>
        <p:nvSpPr>
          <p:cNvPr id="58" name="Text Placeholder 48">
            <a:extLst>
              <a:ext uri="{FF2B5EF4-FFF2-40B4-BE49-F238E27FC236}">
                <a16:creationId xmlns:a16="http://schemas.microsoft.com/office/drawing/2014/main" id="{82C61D3F-0D63-194E-BC05-1C297693C6D3}"/>
              </a:ext>
            </a:extLst>
          </p:cNvPr>
          <p:cNvSpPr>
            <a:spLocks noGrp="1"/>
          </p:cNvSpPr>
          <p:nvPr>
            <p:ph type="body" sz="quarter" idx="21"/>
          </p:nvPr>
        </p:nvSpPr>
        <p:spPr>
          <a:xfrm>
            <a:off x="4260573" y="2520000"/>
            <a:ext cx="7315993" cy="2653199"/>
          </a:xfrm>
        </p:spPr>
        <p:txBody>
          <a:bodyPr numCol="2" spcCol="360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5484B098-C1D0-C941-B95E-15BCCBE29386}"/>
              </a:ext>
            </a:extLst>
          </p:cNvPr>
          <p:cNvSpPr>
            <a:spLocks noGrp="1"/>
          </p:cNvSpPr>
          <p:nvPr>
            <p:ph type="ftr" sz="quarter" idx="22"/>
          </p:nvPr>
        </p:nvSpPr>
        <p:spPr/>
        <p:txBody>
          <a:bodyPr/>
          <a:lstStyle/>
          <a:p>
            <a:pPr algn="r"/>
            <a:endParaRPr lang="en-GB"/>
          </a:p>
        </p:txBody>
      </p:sp>
      <p:sp>
        <p:nvSpPr>
          <p:cNvPr id="45" name="Slide Number Placeholder 44">
            <a:extLst>
              <a:ext uri="{FF2B5EF4-FFF2-40B4-BE49-F238E27FC236}">
                <a16:creationId xmlns:a16="http://schemas.microsoft.com/office/drawing/2014/main" id="{ABAA0D79-0AAD-994D-8DE5-8BE28C186801}"/>
              </a:ext>
            </a:extLst>
          </p:cNvPr>
          <p:cNvSpPr>
            <a:spLocks noGrp="1"/>
          </p:cNvSpPr>
          <p:nvPr>
            <p:ph type="sldNum" sz="quarter" idx="23"/>
          </p:nvPr>
        </p:nvSpPr>
        <p:spPr/>
        <p:txBody>
          <a:bodyPr/>
          <a:lstStyle/>
          <a:p>
            <a:fld id="{1B2D2347-4BA4-BC41-B48C-85D3549E683F}" type="slidenum">
              <a:rPr lang="en-US" smtClean="0"/>
              <a:pPr/>
              <a:t>‹#›</a:t>
            </a:fld>
            <a:endParaRPr lang="en-US"/>
          </a:p>
        </p:txBody>
      </p:sp>
      <p:sp>
        <p:nvSpPr>
          <p:cNvPr id="47" name="Title 49">
            <a:extLst>
              <a:ext uri="{FF2B5EF4-FFF2-40B4-BE49-F238E27FC236}">
                <a16:creationId xmlns:a16="http://schemas.microsoft.com/office/drawing/2014/main" id="{3A833155-E5AB-CF48-8C2F-3D82DC2FEDEA}"/>
              </a:ext>
            </a:extLst>
          </p:cNvPr>
          <p:cNvSpPr>
            <a:spLocks noGrp="1"/>
          </p:cNvSpPr>
          <p:nvPr>
            <p:ph type="title" hasCustomPrompt="1"/>
          </p:nvPr>
        </p:nvSpPr>
        <p:spPr>
          <a:xfrm>
            <a:off x="542414" y="655200"/>
            <a:ext cx="10972800" cy="493200"/>
          </a:xfrm>
          <a:prstGeom prst="rect">
            <a:avLst/>
          </a:prstGeom>
        </p:spPr>
        <p:txBody>
          <a:bodyPr/>
          <a:lstStyle/>
          <a:p>
            <a:r>
              <a:rPr lang="en-GB"/>
              <a:t>Click to edit </a:t>
            </a:r>
            <a:br>
              <a:rPr lang="en-GB"/>
            </a:br>
            <a:r>
              <a:rPr lang="en-GB"/>
              <a:t>Master title style</a:t>
            </a:r>
            <a:endParaRPr lang="en-US"/>
          </a:p>
        </p:txBody>
      </p:sp>
    </p:spTree>
    <p:extLst>
      <p:ext uri="{BB962C8B-B14F-4D97-AF65-F5344CB8AC3E}">
        <p14:creationId xmlns:p14="http://schemas.microsoft.com/office/powerpoint/2010/main" val="3280898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87962978" name="image" descr="{&quot;templafy&quot;:{&quot;id&quot;:&quot;e858da4f-aeff-4351-a888-4b335f815c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822441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9740346" name="image" descr="{&quot;templafy&quot;:{&quot;id&quot;:&quot;68428251-c7c0-4d31-9e14-d98c662cd6b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175694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63764" name="image" descr="{&quot;templafy&quot;:{&quot;id&quot;:&quot;4d9b3a11-fbfa-4d52-b923-56265da5eff0&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1827423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87932666" name="image" descr="{&quot;templafy&quot;:{&quot;id&quot;:&quot;3258589b-5309-4eb2-9b7d-be03ca973363&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413109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092552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5863328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661969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57080524" name="image" descr="{&quot;templafy&quot;:{&quot;id&quot;:&quot;a45f3bc4-b0c6-48eb-8bac-da651050f0a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401688550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358302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7276422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4052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7126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3718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7754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7603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04900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1067567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9122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73740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696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448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3182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98294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65470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1179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6019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7577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6523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6966370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12570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25268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16202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173437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643015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585559744" name="image" descr="{&quot;templafy&quot;:{&quot;id&quot;:&quot;e104d76c-22dc-4d75-b30b-7aa3b21ade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084981908"/>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30630075" name="image" descr="{&quot;templafy&quot;:{&quot;id&quot;:&quot;b5eb3e21-d681-4032-9a1c-d6ce183302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824832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199078997" name="image" descr="{&quot;templafy&quot;:{&quot;id&quot;:&quot;48488bad-a84e-49c0-9a02-616a35022e1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7055160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364887971" name="image" descr="{&quot;templafy&quot;:{&quot;id&quot;:&quot;8acd1dfe-ca90-47a8-8b5e-5901a125b25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563456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50659922" name="image" descr="{&quot;templafy&quot;:{&quot;id&quot;:&quot;885f5805-58be-4ab0-a651-dab7ba2249a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2151253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026514240" name="image" descr="{&quot;templafy&quot;:{&quot;id&quot;:&quot;c23c06be-f3c9-449c-a78d-1fe3586db48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4782749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57479447" name="image" descr="{&quot;templafy&quot;:{&quot;id&quot;:&quot;2996ed4c-ca9b-4443-911c-da4156efb094&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7231062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69268-9C8B-4EBF-A9EE-DC5DC2D48DC3}"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Tree>
    <p:extLst>
      <p:ext uri="{BB962C8B-B14F-4D97-AF65-F5344CB8AC3E}">
        <p14:creationId xmlns:p14="http://schemas.microsoft.com/office/powerpoint/2010/main" val="3177027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33797704" name="image" descr="{&quot;templafy&quot;:{&quot;id&quot;:&quot;1fd35552-54a7-4c6f-91f7-99c60f396b8b&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4978395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80324147" name="image" descr="{&quot;templafy&quot;:{&quot;id&quot;:&quot;9f54d317-8253-4706-97b9-f4c77c31362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2498620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52676794" name="image" descr="{&quot;templafy&quot;:{&quot;id&quot;:&quot;a3aa7c7e-0606-4856-9daf-b37f538b401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5478000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25408054" name="image" descr="{&quot;templafy&quot;:{&quot;id&quot;:&quot;0e2090c4-8144-44e3-97de-33b87b67f734&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158717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068046532" name="image" descr="{&quot;templafy&quot;:{&quot;id&quot;:&quot;94b21791-cfc7-4b35-8547-61a43cec1e37&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7788557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5138501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03578262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3653823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695736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024625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049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028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54172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3973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47408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5.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tags" Target="../tags/tag49.xml"/><Relationship Id="rId50" Type="http://schemas.openxmlformats.org/officeDocument/2006/relationships/image" Target="../media/image2.png"/><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4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ags" Target="../tags/tag46.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 Id="rId48" Type="http://schemas.openxmlformats.org/officeDocument/2006/relationships/oleObject" Target="../embeddings/oleObject2.bin"/><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tags" Target="../tags/tag4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theme" Target="../theme/theme3.xml"/><Relationship Id="rId47" Type="http://schemas.openxmlformats.org/officeDocument/2006/relationships/oleObject" Target="../embeddings/oleObject3.bin"/><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tags" Target="../tags/tag92.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image" Target="../media/image2.pn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tags" Target="../tags/tag91.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tags" Target="../tags/tag90.xml"/><Relationship Id="rId48" Type="http://schemas.openxmlformats.org/officeDocument/2006/relationships/image" Target="../media/image1.emf"/><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tags" Target="../tags/tag93.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tags" Target="../tags/tag140.xml"/><Relationship Id="rId39" Type="http://schemas.openxmlformats.org/officeDocument/2006/relationships/tags" Target="../tags/tag153.xml"/><Relationship Id="rId21" Type="http://schemas.openxmlformats.org/officeDocument/2006/relationships/tags" Target="../tags/tag135.xml"/><Relationship Id="rId34" Type="http://schemas.openxmlformats.org/officeDocument/2006/relationships/tags" Target="../tags/tag148.xml"/><Relationship Id="rId42" Type="http://schemas.openxmlformats.org/officeDocument/2006/relationships/image" Target="../media/image2.png"/><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image" Target="../media/image36.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tags" Target="../tags/tag151.xml"/><Relationship Id="rId40" Type="http://schemas.openxmlformats.org/officeDocument/2006/relationships/oleObject" Target="../embeddings/oleObject4.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tags" Target="../tags/tag150.xml"/><Relationship Id="rId10" Type="http://schemas.openxmlformats.org/officeDocument/2006/relationships/slideLayout" Target="../slideLayouts/slideLayout135.xml"/><Relationship Id="rId19" Type="http://schemas.openxmlformats.org/officeDocument/2006/relationships/theme" Target="../theme/theme4.xml"/><Relationship Id="rId31" Type="http://schemas.openxmlformats.org/officeDocument/2006/relationships/tags" Target="../tags/tag14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tags" Target="../tags/tag149.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tags" Target="../tags/tag15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9" Type="http://schemas.openxmlformats.org/officeDocument/2006/relationships/slideLayout" Target="../slideLayouts/slideLayout182.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42" Type="http://schemas.openxmlformats.org/officeDocument/2006/relationships/theme" Target="../theme/theme5.xml"/><Relationship Id="rId47" Type="http://schemas.openxmlformats.org/officeDocument/2006/relationships/oleObject" Target="../embeddings/oleObject23.bin"/><Relationship Id="rId7" Type="http://schemas.openxmlformats.org/officeDocument/2006/relationships/slideLayout" Target="../slideLayouts/slideLayout1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9" Type="http://schemas.openxmlformats.org/officeDocument/2006/relationships/slideLayout" Target="../slideLayouts/slideLayout172.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37" Type="http://schemas.openxmlformats.org/officeDocument/2006/relationships/slideLayout" Target="../slideLayouts/slideLayout180.xml"/><Relationship Id="rId40" Type="http://schemas.openxmlformats.org/officeDocument/2006/relationships/slideLayout" Target="../slideLayouts/slideLayout183.xml"/><Relationship Id="rId45" Type="http://schemas.openxmlformats.org/officeDocument/2006/relationships/tags" Target="../tags/tag251.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slideLayout" Target="../slideLayouts/slideLayout179.xml"/><Relationship Id="rId49" Type="http://schemas.openxmlformats.org/officeDocument/2006/relationships/image" Target="../media/image2.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4" Type="http://schemas.openxmlformats.org/officeDocument/2006/relationships/tags" Target="../tags/tag250.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slideLayout" Target="../slideLayouts/slideLayout178.xml"/><Relationship Id="rId43" Type="http://schemas.openxmlformats.org/officeDocument/2006/relationships/tags" Target="../tags/tag249.xml"/><Relationship Id="rId48" Type="http://schemas.openxmlformats.org/officeDocument/2006/relationships/image" Target="../media/image1.emf"/><Relationship Id="rId8" Type="http://schemas.openxmlformats.org/officeDocument/2006/relationships/slideLayout" Target="../slideLayouts/slideLayout151.xml"/><Relationship Id="rId3" Type="http://schemas.openxmlformats.org/officeDocument/2006/relationships/slideLayout" Target="../slideLayouts/slideLayout146.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38" Type="http://schemas.openxmlformats.org/officeDocument/2006/relationships/slideLayout" Target="../slideLayouts/slideLayout181.xml"/><Relationship Id="rId46" Type="http://schemas.openxmlformats.org/officeDocument/2006/relationships/tags" Target="../tags/tag252.xml"/><Relationship Id="rId20" Type="http://schemas.openxmlformats.org/officeDocument/2006/relationships/slideLayout" Target="../slideLayouts/slideLayout163.xml"/><Relationship Id="rId41" Type="http://schemas.openxmlformats.org/officeDocument/2006/relationships/slideLayout" Target="../slideLayouts/slideLayout184.xml"/><Relationship Id="rId1" Type="http://schemas.openxmlformats.org/officeDocument/2006/relationships/slideLayout" Target="../slideLayouts/slideLayout144.xml"/><Relationship Id="rId6"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723D6-96B1-4573-9689-74827226EE73}"/>
              </a:ext>
            </a:extLst>
          </p:cNvPr>
          <p:cNvGraphicFramePr>
            <a:graphicFrameLocks noChangeAspect="1"/>
          </p:cNvGraphicFramePr>
          <p:nvPr userDrawn="1">
            <p:custDataLst>
              <p:tags r:id="rId44"/>
            </p:custDataLst>
            <p:extLst>
              <p:ext uri="{D42A27DB-BD31-4B8C-83A1-F6EECF244321}">
                <p14:modId xmlns:p14="http://schemas.microsoft.com/office/powerpoint/2010/main" val="166750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7" name="Object 6" hidden="1">
                        <a:extLst>
                          <a:ext uri="{FF2B5EF4-FFF2-40B4-BE49-F238E27FC236}">
                            <a16:creationId xmlns:a16="http://schemas.microsoft.com/office/drawing/2014/main" id="{6F8723D6-96B1-4573-9689-74827226EE7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5"/>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6"/>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7"/>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0"/>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4133" r:id="rId42"/>
  </p:sldLayoutIdLs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CDE969-2F65-4FBE-B2DA-7A02B1D4415A}"/>
              </a:ext>
            </a:extLst>
          </p:cNvPr>
          <p:cNvGraphicFramePr>
            <a:graphicFrameLocks noChangeAspect="1"/>
          </p:cNvGraphicFramePr>
          <p:nvPr userDrawn="1">
            <p:custDataLst>
              <p:tags r:id="rId44"/>
            </p:custDataLst>
            <p:extLst>
              <p:ext uri="{D42A27DB-BD31-4B8C-83A1-F6EECF244321}">
                <p14:modId xmlns:p14="http://schemas.microsoft.com/office/powerpoint/2010/main" val="168031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9" name="Object 8" hidden="1">
                        <a:extLst>
                          <a:ext uri="{FF2B5EF4-FFF2-40B4-BE49-F238E27FC236}">
                            <a16:creationId xmlns:a16="http://schemas.microsoft.com/office/drawing/2014/main" id="{12CDE969-2F65-4FBE-B2DA-7A02B1D4415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5"/>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6"/>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7"/>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347007104" name="image" descr="{&quot;templafy&quot;:{&quot;id&quot;:&quot;75e29959-3882-4429-8714-44ba5bcf4f7a&quot;}}"/>
          <p:cNvPicPr>
            <a:picLocks noChangeAspect="1"/>
          </p:cNvPicPr>
          <p:nvPr/>
        </p:nvPicPr>
        <p:blipFill>
          <a:blip r:embed="rId50"/>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56299406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 id="2147484154" r:id="rId20"/>
    <p:sldLayoutId id="2147484155" r:id="rId21"/>
    <p:sldLayoutId id="2147484156" r:id="rId22"/>
    <p:sldLayoutId id="2147484157" r:id="rId23"/>
    <p:sldLayoutId id="2147484158" r:id="rId24"/>
    <p:sldLayoutId id="2147484159" r:id="rId25"/>
    <p:sldLayoutId id="2147484160" r:id="rId26"/>
    <p:sldLayoutId id="2147484161" r:id="rId27"/>
    <p:sldLayoutId id="2147484162" r:id="rId28"/>
    <p:sldLayoutId id="2147484163" r:id="rId29"/>
    <p:sldLayoutId id="2147484164" r:id="rId30"/>
    <p:sldLayoutId id="2147484165" r:id="rId31"/>
    <p:sldLayoutId id="2147484166" r:id="rId32"/>
    <p:sldLayoutId id="2147484167" r:id="rId33"/>
    <p:sldLayoutId id="2147484168" r:id="rId34"/>
    <p:sldLayoutId id="2147484169" r:id="rId35"/>
    <p:sldLayoutId id="2147484170" r:id="rId36"/>
    <p:sldLayoutId id="2147484171" r:id="rId37"/>
    <p:sldLayoutId id="2147484172" r:id="rId38"/>
    <p:sldLayoutId id="2147484173" r:id="rId39"/>
    <p:sldLayoutId id="2147484174" r:id="rId40"/>
    <p:sldLayoutId id="2147484175" r:id="rId41"/>
    <p:sldLayoutId id="2147484176" r:id="rId42"/>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367304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975414594"/>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 id="2147484304" r:id="rId35"/>
    <p:sldLayoutId id="2147484305" r:id="rId36"/>
    <p:sldLayoutId id="2147484306" r:id="rId37"/>
    <p:sldLayoutId id="2147484307" r:id="rId38"/>
    <p:sldLayoutId id="2147484308" r:id="rId39"/>
    <p:sldLayoutId id="2147484309" r:id="rId40"/>
    <p:sldLayoutId id="2147484310"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122033"/>
            <a:ext cx="100584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8617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9032"/>
              <a:ext cx="11082528" cy="466344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0308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1863922"/>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63922"/>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A2E7FB5-CD6A-42C3-B9D2-6BBACE80FDA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4702CDBB-027D-48B5-BEA7-175EE358CA1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7F451830-E8B6-4760-BB7B-45A3ABB9A971}"/>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72B6AA4B-50E9-46D4-86A1-BB99F752DE49}"/>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A10508A6-05C4-4C5F-8752-B7BE8DD188E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48194F40-0355-41D0-BB3B-5B50789A5AC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1AA23262-3D6A-424D-9A32-56886544495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B845D081-4E5C-4938-A804-8090B88BF8B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96A1FF35-942F-42D2-A92C-CA28B37DCE36}"/>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DCDA2E86-A83F-4FA7-9633-4306CCFD8F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AAFDF2A7-FE8E-4AF3-AB14-B6D02B73B211}"/>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DA03471C-5ECC-4F79-AE3A-05505F6EFECB}"/>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34F3CBC7-F4D3-4408-B1CB-471FA68B1244}"/>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D28BFEE9-25EE-4103-A596-5F5357061A3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5FCBAEA8-E23D-4147-90A7-B7A1B8372BA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A8234277-A9BE-43EB-83C2-A0F69909E71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6C318758-E229-470E-A166-8B1618AC7209}"/>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A4A03FB4-9577-4E01-8501-7CD9D4CF1ED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907AA1D7-EDE9-4F0D-8F88-9EC3DBEF6F69}"/>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D7FB338-AEEC-4E4A-A17C-34EE71A1352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A0F8C249-16F2-4224-93B4-32B56E5D28C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D1C99A32-A47B-474A-B215-B1AB5C68BB6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C7A1D65C-A82B-481E-9A4D-998791E6232B}"/>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A5EBCEA4-2526-4AED-8941-797894A7865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B0E1B638-C16A-44E3-B880-1DC42EE8EEDF}"/>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CB2E97BB-A2ED-4BBA-AC6A-4A72207B9835}"/>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FC2744-B580-47F5-88F3-68B021A7D16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9D8373C-C98E-434A-999D-53F670303C68}"/>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583B3143-10D3-458D-9CF8-ADDAA5731D4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06E8E8DC-5891-4F94-B013-1CC4B5DADFC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20A0216-E1BB-4812-AB23-E2F17DC9B34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9B4AB9C6-8645-4DD7-AA01-D801FE4038F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BEA2CF50-1204-4150-A46A-DCFE1378B0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A32ED46B-BE43-4D95-B935-0130B52858B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304EA095-3B43-4DDF-9678-46C8B6DC66CD}"/>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C1E845BF-B3B6-4CFE-B81F-A52716FC94DC}"/>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A080024-4B1A-4524-858E-AAE4F18B270B}"/>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68FA4EC0-0162-4CF0-B31C-B87F4A4128B8}"/>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92CBF08A-E6EE-435D-8C32-E789141FC2E6}"/>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pic>
        <p:nvPicPr>
          <p:cNvPr id="148" name="image" descr="{&quot;templafy&quot;:{&quot;id&quot;:&quot;2e404ccb-b54f-4d9c-b286-9094f98b6e06&quot;}}">
            <a:extLst>
              <a:ext uri="{FF2B5EF4-FFF2-40B4-BE49-F238E27FC236}">
                <a16:creationId xmlns:a16="http://schemas.microsoft.com/office/drawing/2014/main" id="{0F35B356-3637-4671-BE7A-43CA321B4AE6}"/>
              </a:ext>
            </a:extLst>
          </p:cNvPr>
          <p:cNvPicPr>
            <a:picLocks noChangeAspect="1"/>
          </p:cNvPicPr>
          <p:nvPr userDrawn="1"/>
        </p:nvPicPr>
        <p:blipFill>
          <a:blip r:embed="rId42"/>
          <a:stretch>
            <a:fillRect/>
          </a:stretch>
        </p:blipFill>
        <p:spPr bwMode="ltGray">
          <a:xfrm>
            <a:off x="336186" y="6556805"/>
            <a:ext cx="1623600" cy="152594"/>
          </a:xfrm>
          <a:prstGeom prst="rect">
            <a:avLst/>
          </a:prstGeom>
        </p:spPr>
      </p:pic>
    </p:spTree>
    <p:extLst>
      <p:ext uri="{BB962C8B-B14F-4D97-AF65-F5344CB8AC3E}">
        <p14:creationId xmlns:p14="http://schemas.microsoft.com/office/powerpoint/2010/main" val="423943565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6">
          <p15:clr>
            <a:srgbClr val="5ACBF0"/>
          </p15:clr>
        </p15:guide>
        <p15:guide id="3" orient="horz" pos="3816">
          <p15:clr>
            <a:srgbClr val="5ACBF0"/>
          </p15:clr>
        </p15:guide>
        <p15:guide id="4" orient="horz" pos="880">
          <p15:clr>
            <a:srgbClr val="F26B43"/>
          </p15:clr>
        </p15:guide>
        <p15:guide id="5" pos="7329">
          <p15:clr>
            <a:srgbClr val="F26B43"/>
          </p15:clr>
        </p15:guide>
        <p15:guide id="6" pos="345">
          <p15:clr>
            <a:srgbClr val="F26B43"/>
          </p15:clr>
        </p15:guide>
        <p15:guide id="8"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058654-E03D-4BBC-8D59-01EBFC4C0B51}"/>
              </a:ext>
            </a:extLst>
          </p:cNvPr>
          <p:cNvGraphicFramePr>
            <a:graphicFrameLocks noChangeAspect="1"/>
          </p:cNvGraphicFramePr>
          <p:nvPr userDrawn="1">
            <p:custDataLst>
              <p:tags r:id="rId43"/>
            </p:custDataLst>
            <p:extLst>
              <p:ext uri="{D42A27DB-BD31-4B8C-83A1-F6EECF244321}">
                <p14:modId xmlns:p14="http://schemas.microsoft.com/office/powerpoint/2010/main" val="811400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9" name="Object 8" hidden="1">
                        <a:extLst>
                          <a:ext uri="{FF2B5EF4-FFF2-40B4-BE49-F238E27FC236}">
                            <a16:creationId xmlns:a16="http://schemas.microsoft.com/office/drawing/2014/main" id="{F6058654-E03D-4BBC-8D59-01EBFC4C0B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10753647" name="image" descr="{&quot;templafy&quot;:{&quot;id&quot;:&quot;ec8caa3e-c0ef-42b7-a99b-dbc4da6d0b81&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2495346564"/>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 id="2147484405" r:id="rId33"/>
    <p:sldLayoutId id="2147484406" r:id="rId34"/>
    <p:sldLayoutId id="2147484407" r:id="rId35"/>
    <p:sldLayoutId id="2147484408" r:id="rId36"/>
    <p:sldLayoutId id="2147484409" r:id="rId37"/>
    <p:sldLayoutId id="2147484410" r:id="rId38"/>
    <p:sldLayoutId id="2147484411" r:id="rId39"/>
    <p:sldLayoutId id="2147484412" r:id="rId40"/>
    <p:sldLayoutId id="2147484413"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5.xml"/><Relationship Id="rId7" Type="http://schemas.openxmlformats.org/officeDocument/2006/relationships/image" Target="../media/image57.png"/><Relationship Id="rId2" Type="http://schemas.openxmlformats.org/officeDocument/2006/relationships/slideLayout" Target="../slideLayouts/slideLayout156.xml"/><Relationship Id="rId1" Type="http://schemas.openxmlformats.org/officeDocument/2006/relationships/tags" Target="../tags/tag297.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7.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61.jpeg"/><Relationship Id="rId18" Type="http://schemas.openxmlformats.org/officeDocument/2006/relationships/chart" Target="../charts/chart3.xml"/><Relationship Id="rId3" Type="http://schemas.openxmlformats.org/officeDocument/2006/relationships/tags" Target="../tags/tag301.xml"/><Relationship Id="rId21" Type="http://schemas.openxmlformats.org/officeDocument/2006/relationships/chart" Target="../charts/chart6.xml"/><Relationship Id="rId7" Type="http://schemas.openxmlformats.org/officeDocument/2006/relationships/tags" Target="../tags/tag305.xml"/><Relationship Id="rId12" Type="http://schemas.openxmlformats.org/officeDocument/2006/relationships/image" Target="../media/image60.png"/><Relationship Id="rId17" Type="http://schemas.openxmlformats.org/officeDocument/2006/relationships/chart" Target="../charts/chart2.xml"/><Relationship Id="rId2" Type="http://schemas.openxmlformats.org/officeDocument/2006/relationships/tags" Target="../tags/tag300.xml"/><Relationship Id="rId16" Type="http://schemas.openxmlformats.org/officeDocument/2006/relationships/image" Target="../media/image63.png"/><Relationship Id="rId20" Type="http://schemas.openxmlformats.org/officeDocument/2006/relationships/chart" Target="../charts/chart5.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image" Target="../media/image1.emf"/><Relationship Id="rId5" Type="http://schemas.openxmlformats.org/officeDocument/2006/relationships/tags" Target="../tags/tag303.xml"/><Relationship Id="rId15" Type="http://schemas.openxmlformats.org/officeDocument/2006/relationships/chart" Target="../charts/chart1.xml"/><Relationship Id="rId10" Type="http://schemas.openxmlformats.org/officeDocument/2006/relationships/oleObject" Target="../embeddings/oleObject30.bin"/><Relationship Id="rId19" Type="http://schemas.openxmlformats.org/officeDocument/2006/relationships/chart" Target="../charts/chart4.xml"/><Relationship Id="rId4" Type="http://schemas.openxmlformats.org/officeDocument/2006/relationships/tags" Target="../tags/tag302.xml"/><Relationship Id="rId9" Type="http://schemas.openxmlformats.org/officeDocument/2006/relationships/notesSlide" Target="../notesSlides/notesSlide7.xml"/><Relationship Id="rId14"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5.png"/><Relationship Id="rId7"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4.xml.rels><?xml version="1.0" encoding="UTF-8" standalone="yes"?>
<Relationships xmlns="http://schemas.openxmlformats.org/package/2006/relationships"><Relationship Id="rId13" Type="http://schemas.microsoft.com/office/2014/relationships/chartEx" Target="../charts/chartEx3.xml"/><Relationship Id="rId18" Type="http://schemas.openxmlformats.org/officeDocument/2006/relationships/chart" Target="../charts/chart11.xml"/><Relationship Id="rId26" Type="http://schemas.openxmlformats.org/officeDocument/2006/relationships/image" Target="../media/image69.png"/><Relationship Id="rId21" Type="http://schemas.openxmlformats.org/officeDocument/2006/relationships/chart" Target="../charts/chart12.xml"/><Relationship Id="rId34" Type="http://schemas.microsoft.com/office/2014/relationships/chartEx" Target="../charts/chartEx10.xml"/><Relationship Id="rId12" Type="http://schemas.openxmlformats.org/officeDocument/2006/relationships/chart" Target="../charts/chart9.xml"/><Relationship Id="rId17" Type="http://schemas.openxmlformats.org/officeDocument/2006/relationships/image" Target="../media/image66.png"/><Relationship Id="rId25" Type="http://schemas.microsoft.com/office/2014/relationships/chartEx" Target="../charts/chartEx7.xml"/><Relationship Id="rId33" Type="http://schemas.openxmlformats.org/officeDocument/2006/relationships/chart" Target="../charts/chart16.xml"/><Relationship Id="rId38" Type="http://schemas.openxmlformats.org/officeDocument/2006/relationships/image" Target="../media/image72.png"/><Relationship Id="rId2" Type="http://schemas.openxmlformats.org/officeDocument/2006/relationships/slideLayout" Target="../slideLayouts/slideLayout34.xml"/><Relationship Id="rId16" Type="http://schemas.microsoft.com/office/2014/relationships/chartEx" Target="../charts/chartEx4.xml"/><Relationship Id="rId20" Type="http://schemas.openxmlformats.org/officeDocument/2006/relationships/image" Target="../media/image67.png"/><Relationship Id="rId29" Type="http://schemas.openxmlformats.org/officeDocument/2006/relationships/image" Target="../media/image68.png"/><Relationship Id="rId1" Type="http://schemas.openxmlformats.org/officeDocument/2006/relationships/tags" Target="../tags/tag306.xml"/><Relationship Id="rId6" Type="http://schemas.microsoft.com/office/2014/relationships/chartEx" Target="../charts/chartEx1.xml"/><Relationship Id="rId11" Type="http://schemas.openxmlformats.org/officeDocument/2006/relationships/image" Target="../media/image64.png"/><Relationship Id="rId24" Type="http://schemas.openxmlformats.org/officeDocument/2006/relationships/chart" Target="../charts/chart13.xml"/><Relationship Id="rId32" Type="http://schemas.openxmlformats.org/officeDocument/2006/relationships/image" Target="../media/image70.png"/><Relationship Id="rId37" Type="http://schemas.microsoft.com/office/2014/relationships/chartEx" Target="../charts/chartEx11.xml"/><Relationship Id="rId5" Type="http://schemas.openxmlformats.org/officeDocument/2006/relationships/chart" Target="../charts/chart7.xml"/><Relationship Id="rId15" Type="http://schemas.openxmlformats.org/officeDocument/2006/relationships/chart" Target="../charts/chart10.xml"/><Relationship Id="rId23" Type="http://schemas.openxmlformats.org/officeDocument/2006/relationships/image" Target="../media/image430.png"/><Relationship Id="rId28" Type="http://schemas.microsoft.com/office/2014/relationships/chartEx" Target="../charts/chartEx8.xml"/><Relationship Id="rId36" Type="http://schemas.openxmlformats.org/officeDocument/2006/relationships/chart" Target="../charts/chart17.xml"/><Relationship Id="rId10" Type="http://schemas.microsoft.com/office/2014/relationships/chartEx" Target="../charts/chartEx2.xml"/><Relationship Id="rId19" Type="http://schemas.microsoft.com/office/2014/relationships/chartEx" Target="../charts/chartEx5.xml"/><Relationship Id="rId31" Type="http://schemas.microsoft.com/office/2014/relationships/chartEx" Target="../charts/chartEx9.xml"/><Relationship Id="rId4" Type="http://schemas.openxmlformats.org/officeDocument/2006/relationships/image" Target="../media/image1.emf"/><Relationship Id="rId9" Type="http://schemas.openxmlformats.org/officeDocument/2006/relationships/chart" Target="../charts/chart8.xml"/><Relationship Id="rId14" Type="http://schemas.openxmlformats.org/officeDocument/2006/relationships/image" Target="../media/image65.png"/><Relationship Id="rId22" Type="http://schemas.microsoft.com/office/2014/relationships/chartEx" Target="../charts/chartEx6.xml"/><Relationship Id="rId27" Type="http://schemas.openxmlformats.org/officeDocument/2006/relationships/chart" Target="../charts/chart14.xml"/><Relationship Id="rId30" Type="http://schemas.openxmlformats.org/officeDocument/2006/relationships/chart" Target="../charts/chart15.xml"/><Relationship Id="rId35" Type="http://schemas.openxmlformats.org/officeDocument/2006/relationships/image" Target="../media/image71.png"/><Relationship Id="rId8" Type="http://schemas.openxmlformats.org/officeDocument/2006/relationships/image" Target="../media/image630.png"/><Relationship Id="rId3"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9.xml"/><Relationship Id="rId2" Type="http://schemas.openxmlformats.org/officeDocument/2006/relationships/slideLayout" Target="../slideLayouts/slideLayout34.xml"/><Relationship Id="rId1" Type="http://schemas.openxmlformats.org/officeDocument/2006/relationships/tags" Target="../tags/tag307.xml"/><Relationship Id="rId6" Type="http://schemas.openxmlformats.org/officeDocument/2006/relationships/chart" Target="../charts/chart18.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8" Type="http://schemas.openxmlformats.org/officeDocument/2006/relationships/chart" Target="../charts/chart23.xml"/><Relationship Id="rId13" Type="http://schemas.openxmlformats.org/officeDocument/2006/relationships/chart" Target="../charts/chart25.xml"/><Relationship Id="rId3" Type="http://schemas.openxmlformats.org/officeDocument/2006/relationships/oleObject" Target="../embeddings/oleObject33.bin"/><Relationship Id="rId7" Type="http://schemas.openxmlformats.org/officeDocument/2006/relationships/chart" Target="../charts/chart22.xml"/><Relationship Id="rId12" Type="http://schemas.openxmlformats.org/officeDocument/2006/relationships/image" Target="../media/image62.png"/><Relationship Id="rId2" Type="http://schemas.openxmlformats.org/officeDocument/2006/relationships/slideLayout" Target="../slideLayouts/slideLayout34.xml"/><Relationship Id="rId1" Type="http://schemas.openxmlformats.org/officeDocument/2006/relationships/tags" Target="../tags/tag308.xml"/><Relationship Id="rId6" Type="http://schemas.openxmlformats.org/officeDocument/2006/relationships/chart" Target="../charts/chart21.xml"/><Relationship Id="rId11" Type="http://schemas.openxmlformats.org/officeDocument/2006/relationships/image" Target="../media/image61.jpeg"/><Relationship Id="rId5" Type="http://schemas.openxmlformats.org/officeDocument/2006/relationships/chart" Target="../charts/chart20.xml"/><Relationship Id="rId10" Type="http://schemas.openxmlformats.org/officeDocument/2006/relationships/image" Target="../media/image60.png"/><Relationship Id="rId4" Type="http://schemas.openxmlformats.org/officeDocument/2006/relationships/image" Target="../media/image1.emf"/><Relationship Id="rId9" Type="http://schemas.openxmlformats.org/officeDocument/2006/relationships/chart" Target="../charts/chart24.xml"/></Relationships>
</file>

<file path=ppt/slides/_rels/slide1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oleObject" Target="../embeddings/oleObject34.bin"/><Relationship Id="rId7" Type="http://schemas.openxmlformats.org/officeDocument/2006/relationships/chart" Target="../charts/chart28.xml"/><Relationship Id="rId12" Type="http://schemas.openxmlformats.org/officeDocument/2006/relationships/chart" Target="../charts/chart30.xml"/><Relationship Id="rId2" Type="http://schemas.openxmlformats.org/officeDocument/2006/relationships/slideLayout" Target="../slideLayouts/slideLayout34.xml"/><Relationship Id="rId1" Type="http://schemas.openxmlformats.org/officeDocument/2006/relationships/tags" Target="../tags/tag309.xml"/><Relationship Id="rId6" Type="http://schemas.openxmlformats.org/officeDocument/2006/relationships/chart" Target="../charts/chart27.xml"/><Relationship Id="rId11" Type="http://schemas.openxmlformats.org/officeDocument/2006/relationships/chart" Target="../charts/chart29.xml"/><Relationship Id="rId5" Type="http://schemas.openxmlformats.org/officeDocument/2006/relationships/chart" Target="../charts/chart26.xml"/><Relationship Id="rId10"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image" Target="../media/image61.jpeg"/></Relationships>
</file>

<file path=ppt/slides/_rels/slide1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oleObject" Target="../embeddings/oleObject35.bin"/><Relationship Id="rId7" Type="http://schemas.openxmlformats.org/officeDocument/2006/relationships/chart" Target="../charts/chart33.xml"/><Relationship Id="rId12" Type="http://schemas.openxmlformats.org/officeDocument/2006/relationships/chart" Target="../charts/chart35.xml"/><Relationship Id="rId2" Type="http://schemas.openxmlformats.org/officeDocument/2006/relationships/slideLayout" Target="../slideLayouts/slideLayout34.xml"/><Relationship Id="rId1" Type="http://schemas.openxmlformats.org/officeDocument/2006/relationships/tags" Target="../tags/tag310.xml"/><Relationship Id="rId6" Type="http://schemas.openxmlformats.org/officeDocument/2006/relationships/chart" Target="../charts/chart32.xml"/><Relationship Id="rId11" Type="http://schemas.openxmlformats.org/officeDocument/2006/relationships/chart" Target="../charts/chart34.xml"/><Relationship Id="rId5" Type="http://schemas.openxmlformats.org/officeDocument/2006/relationships/chart" Target="../charts/chart31.xml"/><Relationship Id="rId10"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image" Target="../media/image61.jpeg"/></Relationships>
</file>

<file path=ppt/slides/_rels/slide19.xml.rels><?xml version="1.0" encoding="UTF-8" standalone="yes"?>
<Relationships xmlns="http://schemas.openxmlformats.org/package/2006/relationships"><Relationship Id="rId8" Type="http://schemas.openxmlformats.org/officeDocument/2006/relationships/chart" Target="../charts/chart41.xml"/><Relationship Id="rId13" Type="http://schemas.openxmlformats.org/officeDocument/2006/relationships/image" Target="../media/image61.jpeg"/><Relationship Id="rId3" Type="http://schemas.openxmlformats.org/officeDocument/2006/relationships/chart" Target="../charts/chart36.xml"/><Relationship Id="rId7" Type="http://schemas.openxmlformats.org/officeDocument/2006/relationships/chart" Target="../charts/chart40.xml"/><Relationship Id="rId12" Type="http://schemas.openxmlformats.org/officeDocument/2006/relationships/image" Target="../media/image60.png"/><Relationship Id="rId2" Type="http://schemas.openxmlformats.org/officeDocument/2006/relationships/slideLayout" Target="../slideLayouts/slideLayout34.xml"/><Relationship Id="rId1" Type="http://schemas.openxmlformats.org/officeDocument/2006/relationships/tags" Target="../tags/tag311.xml"/><Relationship Id="rId6" Type="http://schemas.openxmlformats.org/officeDocument/2006/relationships/chart" Target="../charts/chart39.xml"/><Relationship Id="rId11" Type="http://schemas.openxmlformats.org/officeDocument/2006/relationships/chart" Target="../charts/chart42.xml"/><Relationship Id="rId5" Type="http://schemas.openxmlformats.org/officeDocument/2006/relationships/chart" Target="../charts/chart38.xml"/><Relationship Id="rId15" Type="http://schemas.openxmlformats.org/officeDocument/2006/relationships/chart" Target="../charts/chart43.xml"/><Relationship Id="rId10" Type="http://schemas.openxmlformats.org/officeDocument/2006/relationships/image" Target="../media/image1.emf"/><Relationship Id="rId4" Type="http://schemas.openxmlformats.org/officeDocument/2006/relationships/chart" Target="../charts/chart37.xml"/><Relationship Id="rId9" Type="http://schemas.openxmlformats.org/officeDocument/2006/relationships/oleObject" Target="../embeddings/oleObject36.bin"/><Relationship Id="rId14"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microsoft.com/office/2018/10/relationships/comments" Target="../comments/modernComment_7FFFCFC6_3FA750C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chart" Target="../charts/chart49.xml"/><Relationship Id="rId13" Type="http://schemas.openxmlformats.org/officeDocument/2006/relationships/image" Target="../media/image61.jpeg"/><Relationship Id="rId3" Type="http://schemas.openxmlformats.org/officeDocument/2006/relationships/chart" Target="../charts/chart44.xml"/><Relationship Id="rId7" Type="http://schemas.openxmlformats.org/officeDocument/2006/relationships/chart" Target="../charts/chart48.xml"/><Relationship Id="rId12" Type="http://schemas.openxmlformats.org/officeDocument/2006/relationships/image" Target="../media/image60.png"/><Relationship Id="rId2" Type="http://schemas.openxmlformats.org/officeDocument/2006/relationships/slideLayout" Target="../slideLayouts/slideLayout34.xml"/><Relationship Id="rId1" Type="http://schemas.openxmlformats.org/officeDocument/2006/relationships/tags" Target="../tags/tag312.xml"/><Relationship Id="rId6" Type="http://schemas.openxmlformats.org/officeDocument/2006/relationships/chart" Target="../charts/chart47.xml"/><Relationship Id="rId11" Type="http://schemas.openxmlformats.org/officeDocument/2006/relationships/chart" Target="../charts/chart50.xml"/><Relationship Id="rId5" Type="http://schemas.openxmlformats.org/officeDocument/2006/relationships/chart" Target="../charts/chart46.xml"/><Relationship Id="rId10" Type="http://schemas.openxmlformats.org/officeDocument/2006/relationships/image" Target="../media/image1.emf"/><Relationship Id="rId4" Type="http://schemas.openxmlformats.org/officeDocument/2006/relationships/chart" Target="../charts/chart45.xml"/><Relationship Id="rId9" Type="http://schemas.openxmlformats.org/officeDocument/2006/relationships/oleObject" Target="../embeddings/oleObject37.bin"/><Relationship Id="rId14" Type="http://schemas.openxmlformats.org/officeDocument/2006/relationships/image" Target="../media/image62.png"/></Relationships>
</file>

<file path=ppt/slides/_rels/slide21.xml.rels><?xml version="1.0" encoding="UTF-8" standalone="yes"?>
<Relationships xmlns="http://schemas.openxmlformats.org/package/2006/relationships"><Relationship Id="rId8" Type="http://schemas.openxmlformats.org/officeDocument/2006/relationships/chart" Target="../charts/chart56.xml"/><Relationship Id="rId13" Type="http://schemas.openxmlformats.org/officeDocument/2006/relationships/image" Target="../media/image61.jpeg"/><Relationship Id="rId3" Type="http://schemas.openxmlformats.org/officeDocument/2006/relationships/chart" Target="../charts/chart51.xml"/><Relationship Id="rId7" Type="http://schemas.openxmlformats.org/officeDocument/2006/relationships/chart" Target="../charts/chart55.xml"/><Relationship Id="rId12" Type="http://schemas.openxmlformats.org/officeDocument/2006/relationships/image" Target="../media/image60.png"/><Relationship Id="rId2" Type="http://schemas.openxmlformats.org/officeDocument/2006/relationships/slideLayout" Target="../slideLayouts/slideLayout34.xml"/><Relationship Id="rId1" Type="http://schemas.openxmlformats.org/officeDocument/2006/relationships/tags" Target="../tags/tag313.xml"/><Relationship Id="rId6" Type="http://schemas.openxmlformats.org/officeDocument/2006/relationships/chart" Target="../charts/chart54.xml"/><Relationship Id="rId11" Type="http://schemas.openxmlformats.org/officeDocument/2006/relationships/chart" Target="../charts/chart57.xml"/><Relationship Id="rId5" Type="http://schemas.openxmlformats.org/officeDocument/2006/relationships/chart" Target="../charts/chart53.xml"/><Relationship Id="rId10" Type="http://schemas.openxmlformats.org/officeDocument/2006/relationships/image" Target="../media/image1.emf"/><Relationship Id="rId4" Type="http://schemas.openxmlformats.org/officeDocument/2006/relationships/chart" Target="../charts/chart52.xml"/><Relationship Id="rId9" Type="http://schemas.openxmlformats.org/officeDocument/2006/relationships/oleObject" Target="../embeddings/oleObject38.bin"/><Relationship Id="rId14" Type="http://schemas.openxmlformats.org/officeDocument/2006/relationships/image" Target="../media/image62.png"/></Relationships>
</file>

<file path=ppt/slides/_rels/slide22.xml.rels><?xml version="1.0" encoding="UTF-8" standalone="yes"?>
<Relationships xmlns="http://schemas.openxmlformats.org/package/2006/relationships"><Relationship Id="rId8" Type="http://schemas.openxmlformats.org/officeDocument/2006/relationships/chart" Target="../charts/chart63.xml"/><Relationship Id="rId13" Type="http://schemas.openxmlformats.org/officeDocument/2006/relationships/image" Target="../media/image61.jpeg"/><Relationship Id="rId3" Type="http://schemas.openxmlformats.org/officeDocument/2006/relationships/chart" Target="../charts/chart58.xml"/><Relationship Id="rId7" Type="http://schemas.openxmlformats.org/officeDocument/2006/relationships/chart" Target="../charts/chart62.xml"/><Relationship Id="rId12" Type="http://schemas.openxmlformats.org/officeDocument/2006/relationships/image" Target="../media/image60.png"/><Relationship Id="rId2" Type="http://schemas.openxmlformats.org/officeDocument/2006/relationships/slideLayout" Target="../slideLayouts/slideLayout34.xml"/><Relationship Id="rId1" Type="http://schemas.openxmlformats.org/officeDocument/2006/relationships/tags" Target="../tags/tag314.xml"/><Relationship Id="rId6" Type="http://schemas.openxmlformats.org/officeDocument/2006/relationships/chart" Target="../charts/chart61.xml"/><Relationship Id="rId11" Type="http://schemas.openxmlformats.org/officeDocument/2006/relationships/chart" Target="../charts/chart64.xml"/><Relationship Id="rId5" Type="http://schemas.openxmlformats.org/officeDocument/2006/relationships/chart" Target="../charts/chart60.xml"/><Relationship Id="rId15" Type="http://schemas.openxmlformats.org/officeDocument/2006/relationships/chart" Target="../charts/chart65.xml"/><Relationship Id="rId10" Type="http://schemas.openxmlformats.org/officeDocument/2006/relationships/image" Target="../media/image1.emf"/><Relationship Id="rId4" Type="http://schemas.openxmlformats.org/officeDocument/2006/relationships/chart" Target="../charts/chart59.xml"/><Relationship Id="rId9" Type="http://schemas.openxmlformats.org/officeDocument/2006/relationships/oleObject" Target="../embeddings/oleObject39.bin"/><Relationship Id="rId1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3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customXml" Target="../../customXml/item29.xml"/><Relationship Id="rId1" Type="http://schemas.openxmlformats.org/officeDocument/2006/relationships/customXml" Target="../../customXml/item2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9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5.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1.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2.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6.xml"/><Relationship Id="rId1" Type="http://schemas.openxmlformats.org/officeDocument/2006/relationships/tags" Target="../tags/tag294.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51.png"/><Relationship Id="rId7"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52.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3.xml"/><Relationship Id="rId1" Type="http://schemas.openxmlformats.org/officeDocument/2006/relationships/tags" Target="../tags/tag295.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55.png"/><Relationship Id="rId2" Type="http://schemas.openxmlformats.org/officeDocument/2006/relationships/slideLayout" Target="../slideLayouts/slideLayout156.xml"/><Relationship Id="rId1" Type="http://schemas.openxmlformats.org/officeDocument/2006/relationships/tags" Target="../tags/tag29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7584D-EEF0-B638-D273-70A6AC1E86F0}"/>
              </a:ext>
            </a:extLst>
          </p:cNvPr>
          <p:cNvSpPr>
            <a:spLocks noGrp="1"/>
          </p:cNvSpPr>
          <p:nvPr>
            <p:ph type="ctrTitle"/>
          </p:nvPr>
        </p:nvSpPr>
        <p:spPr>
          <a:xfrm>
            <a:off x="358774" y="1798637"/>
            <a:ext cx="9772425" cy="2173288"/>
          </a:xfrm>
        </p:spPr>
        <p:txBody>
          <a:bodyPr/>
          <a:lstStyle/>
          <a:p>
            <a:r>
              <a:rPr lang="en-US" b="1" dirty="0"/>
              <a:t>Targeted HFA Spot Checks </a:t>
            </a:r>
            <a:endParaRPr lang="en-US" dirty="0"/>
          </a:p>
        </p:txBody>
      </p:sp>
      <p:sp>
        <p:nvSpPr>
          <p:cNvPr id="3" name="Text Placeholder 2">
            <a:extLst>
              <a:ext uri="{FF2B5EF4-FFF2-40B4-BE49-F238E27FC236}">
                <a16:creationId xmlns:a16="http://schemas.microsoft.com/office/drawing/2014/main" id="{7FEF7A20-ED2E-4495-F60F-CBD9BD615CBB}"/>
              </a:ext>
            </a:extLst>
          </p:cNvPr>
          <p:cNvSpPr>
            <a:spLocks noGrp="1"/>
          </p:cNvSpPr>
          <p:nvPr>
            <p:ph type="body" sz="quarter" idx="11"/>
          </p:nvPr>
        </p:nvSpPr>
        <p:spPr>
          <a:xfrm>
            <a:off x="358774" y="3790642"/>
            <a:ext cx="9772424" cy="1075715"/>
          </a:xfrm>
          <a:solidFill>
            <a:schemeClr val="bg1"/>
          </a:solidFill>
        </p:spPr>
        <p:txBody>
          <a:bodyPr vert="horz" lIns="0" tIns="0" rIns="0" bIns="0" rtlCol="0" anchor="t">
            <a:noAutofit/>
          </a:bodyPr>
          <a:lstStyle/>
          <a:p>
            <a:r>
              <a:rPr lang="en-US" sz="3600" b="1" dirty="0">
                <a:cs typeface="Arial"/>
              </a:rPr>
              <a:t>Country report: </a:t>
            </a:r>
            <a:r>
              <a:rPr lang="en-US" sz="3600" b="1" dirty="0">
                <a:latin typeface="Arial"/>
              </a:rPr>
              <a:t> Malawi</a:t>
            </a:r>
          </a:p>
          <a:p>
            <a:r>
              <a:rPr lang="en-US" sz="3600" b="1" dirty="0">
                <a:latin typeface="Arial"/>
                <a:cs typeface="Arial"/>
              </a:rPr>
              <a:t>May - June  2024</a:t>
            </a:r>
            <a:endParaRPr lang="en-US" sz="3600" b="1" dirty="0">
              <a:cs typeface="Arial"/>
            </a:endParaRPr>
          </a:p>
        </p:txBody>
      </p:sp>
      <p:sp>
        <p:nvSpPr>
          <p:cNvPr id="5" name="TextBox 4">
            <a:extLst>
              <a:ext uri="{FF2B5EF4-FFF2-40B4-BE49-F238E27FC236}">
                <a16:creationId xmlns:a16="http://schemas.microsoft.com/office/drawing/2014/main" id="{19A13B1D-0D64-AEF3-6F39-60541108B272}"/>
              </a:ext>
            </a:extLst>
          </p:cNvPr>
          <p:cNvSpPr txBox="1"/>
          <p:nvPr/>
        </p:nvSpPr>
        <p:spPr>
          <a:xfrm>
            <a:off x="358774" y="5760790"/>
            <a:ext cx="4781550" cy="461665"/>
          </a:xfrm>
          <a:prstGeom prst="rect">
            <a:avLst/>
          </a:prstGeom>
          <a:solidFill>
            <a:schemeClr val="bg1"/>
          </a:solidFill>
        </p:spPr>
        <p:txBody>
          <a:bodyPr wrap="square" rtlCol="0">
            <a:spAutoFit/>
          </a:bodyPr>
          <a:lstStyle/>
          <a:p>
            <a:r>
              <a:rPr lang="fr-CH" sz="2400" b="1" dirty="0">
                <a:cs typeface="Arial"/>
              </a:rPr>
              <a:t>Date: August 1, 2024</a:t>
            </a:r>
            <a:endParaRPr lang="en-US" sz="2400" b="1" dirty="0">
              <a:cs typeface="Arial"/>
            </a:endParaRPr>
          </a:p>
        </p:txBody>
      </p:sp>
      <p:pic>
        <p:nvPicPr>
          <p:cNvPr id="6" name="Graphic 5">
            <a:extLst>
              <a:ext uri="{FF2B5EF4-FFF2-40B4-BE49-F238E27FC236}">
                <a16:creationId xmlns:a16="http://schemas.microsoft.com/office/drawing/2014/main" id="{739C0ADA-E6FC-4154-B677-E1D4F9D325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67484" y="273669"/>
            <a:ext cx="3650157" cy="689474"/>
          </a:xfrm>
          <a:prstGeom prst="rect">
            <a:avLst/>
          </a:prstGeom>
        </p:spPr>
      </p:pic>
      <p:sp>
        <p:nvSpPr>
          <p:cNvPr id="7" name="TextBox 6">
            <a:extLst>
              <a:ext uri="{FF2B5EF4-FFF2-40B4-BE49-F238E27FC236}">
                <a16:creationId xmlns:a16="http://schemas.microsoft.com/office/drawing/2014/main" id="{47937D5F-6C91-4335-A43F-259913829A04}"/>
              </a:ext>
            </a:extLst>
          </p:cNvPr>
          <p:cNvSpPr txBox="1"/>
          <p:nvPr/>
        </p:nvSpPr>
        <p:spPr>
          <a:xfrm>
            <a:off x="3761772" y="6473062"/>
            <a:ext cx="8430228" cy="338554"/>
          </a:xfrm>
          <a:prstGeom prst="rect">
            <a:avLst/>
          </a:prstGeom>
          <a:noFill/>
        </p:spPr>
        <p:txBody>
          <a:bodyPr wrap="square">
            <a:spAutoFit/>
          </a:bodyPr>
          <a:lstStyle/>
          <a:p>
            <a:r>
              <a:rPr lang="en-US" sz="800" b="1" dirty="0"/>
              <a:t>Disclaimer: </a:t>
            </a:r>
            <a:r>
              <a:rPr lang="en-US" sz="800" dirty="0"/>
              <a:t>“The opinions expressed in this presentation and on the following slides are solely those of the presenter and not necessarily those of IQVIA. IQVIA does not guarantee the accuracy or reliability of the information provided herein.”</a:t>
            </a:r>
          </a:p>
        </p:txBody>
      </p:sp>
    </p:spTree>
    <p:extLst>
      <p:ext uri="{BB962C8B-B14F-4D97-AF65-F5344CB8AC3E}">
        <p14:creationId xmlns:p14="http://schemas.microsoft.com/office/powerpoint/2010/main" val="3042749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448F4B-A988-1D69-1DFA-1262E08EC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a16="http://schemas.microsoft.com/office/drawing/2014/main" id="{47448F4B-A988-1D69-1DFA-1262E08EC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CCB64AE-201D-8DFB-D180-076BF9575F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E3EDB-D7EB-F14E-A6D1-748C03EC5EDC}"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2" name="Title 1">
            <a:extLst>
              <a:ext uri="{FF2B5EF4-FFF2-40B4-BE49-F238E27FC236}">
                <a16:creationId xmlns:a16="http://schemas.microsoft.com/office/drawing/2014/main" id="{88B42371-8F1B-0C4E-94E5-3C5AE05B2216}"/>
              </a:ext>
            </a:extLst>
          </p:cNvPr>
          <p:cNvSpPr>
            <a:spLocks noGrp="1"/>
          </p:cNvSpPr>
          <p:nvPr>
            <p:ph type="title"/>
          </p:nvPr>
        </p:nvSpPr>
        <p:spPr/>
        <p:txBody>
          <a:bodyPr vert="horz"/>
          <a:lstStyle/>
          <a:p>
            <a:r>
              <a:rPr lang="en-US" sz="2800"/>
              <a:t>In-field checks by SPs on Data Quality for Spot Check Round 4 and t-HFA Baseline</a:t>
            </a:r>
          </a:p>
        </p:txBody>
      </p:sp>
      <p:sp>
        <p:nvSpPr>
          <p:cNvPr id="6" name="Text Placeholder 5">
            <a:extLst>
              <a:ext uri="{FF2B5EF4-FFF2-40B4-BE49-F238E27FC236}">
                <a16:creationId xmlns:a16="http://schemas.microsoft.com/office/drawing/2014/main" id="{2BBBCEAB-3E4D-4268-8E06-90A7DE31DDDD}"/>
              </a:ext>
            </a:extLst>
          </p:cNvPr>
          <p:cNvSpPr>
            <a:spLocks noGrp="1"/>
          </p:cNvSpPr>
          <p:nvPr>
            <p:ph type="body" sz="quarter" idx="13"/>
          </p:nvPr>
        </p:nvSpPr>
        <p:spPr>
          <a:xfrm>
            <a:off x="360001" y="1043947"/>
            <a:ext cx="11471999" cy="468000"/>
          </a:xfrm>
        </p:spPr>
        <p:txBody>
          <a:bodyPr/>
          <a:lstStyle/>
          <a:p>
            <a:r>
              <a:rPr lang="en-US" sz="2400" i="1"/>
              <a:t>Stronger quality checks including spot-checks, back-checks and telephonic confirmations to be implemented</a:t>
            </a:r>
          </a:p>
        </p:txBody>
      </p:sp>
      <p:pic>
        <p:nvPicPr>
          <p:cNvPr id="10" name="Picture 9">
            <a:extLst>
              <a:ext uri="{FF2B5EF4-FFF2-40B4-BE49-F238E27FC236}">
                <a16:creationId xmlns:a16="http://schemas.microsoft.com/office/drawing/2014/main" id="{A30DF604-6826-02EA-4D96-C208C6645119}"/>
              </a:ext>
            </a:extLst>
          </p:cNvPr>
          <p:cNvPicPr>
            <a:picLocks noChangeAspect="1"/>
          </p:cNvPicPr>
          <p:nvPr/>
        </p:nvPicPr>
        <p:blipFill>
          <a:blip r:embed="rId6"/>
          <a:stretch>
            <a:fillRect/>
          </a:stretch>
        </p:blipFill>
        <p:spPr>
          <a:xfrm>
            <a:off x="245952" y="1861259"/>
            <a:ext cx="971105" cy="944470"/>
          </a:xfrm>
          <a:prstGeom prst="rect">
            <a:avLst/>
          </a:prstGeom>
        </p:spPr>
      </p:pic>
      <p:pic>
        <p:nvPicPr>
          <p:cNvPr id="11" name="Picture 10">
            <a:extLst>
              <a:ext uri="{FF2B5EF4-FFF2-40B4-BE49-F238E27FC236}">
                <a16:creationId xmlns:a16="http://schemas.microsoft.com/office/drawing/2014/main" id="{3D5088A2-8FE9-C44F-3A01-7D34F60A26EC}"/>
              </a:ext>
            </a:extLst>
          </p:cNvPr>
          <p:cNvPicPr>
            <a:picLocks noChangeAspect="1"/>
          </p:cNvPicPr>
          <p:nvPr/>
        </p:nvPicPr>
        <p:blipFill>
          <a:blip r:embed="rId7"/>
          <a:stretch>
            <a:fillRect/>
          </a:stretch>
        </p:blipFill>
        <p:spPr>
          <a:xfrm>
            <a:off x="259690" y="3010494"/>
            <a:ext cx="971104" cy="1056246"/>
          </a:xfrm>
          <a:prstGeom prst="rect">
            <a:avLst/>
          </a:prstGeom>
        </p:spPr>
      </p:pic>
      <p:pic>
        <p:nvPicPr>
          <p:cNvPr id="12" name="Picture 11">
            <a:extLst>
              <a:ext uri="{FF2B5EF4-FFF2-40B4-BE49-F238E27FC236}">
                <a16:creationId xmlns:a16="http://schemas.microsoft.com/office/drawing/2014/main" id="{CE1FC75D-B8D8-93AA-68A7-E48F905E00F0}"/>
              </a:ext>
            </a:extLst>
          </p:cNvPr>
          <p:cNvPicPr>
            <a:picLocks noChangeAspect="1"/>
          </p:cNvPicPr>
          <p:nvPr/>
        </p:nvPicPr>
        <p:blipFill>
          <a:blip r:embed="rId8"/>
          <a:stretch>
            <a:fillRect/>
          </a:stretch>
        </p:blipFill>
        <p:spPr>
          <a:xfrm>
            <a:off x="245952" y="4261701"/>
            <a:ext cx="971104" cy="1196799"/>
          </a:xfrm>
          <a:prstGeom prst="rect">
            <a:avLst/>
          </a:prstGeom>
        </p:spPr>
      </p:pic>
      <p:sp>
        <p:nvSpPr>
          <p:cNvPr id="13" name="Rectangle: Rounded Corners 12">
            <a:extLst>
              <a:ext uri="{FF2B5EF4-FFF2-40B4-BE49-F238E27FC236}">
                <a16:creationId xmlns:a16="http://schemas.microsoft.com/office/drawing/2014/main" id="{F7C1ACE2-A324-16F5-D8B7-8D030C5498AA}"/>
              </a:ext>
            </a:extLst>
          </p:cNvPr>
          <p:cNvSpPr/>
          <p:nvPr/>
        </p:nvSpPr>
        <p:spPr>
          <a:xfrm>
            <a:off x="1411469" y="1861259"/>
            <a:ext cx="2121190" cy="99323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Telephone confirmations</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449C66C2-C551-7F76-0697-DBF309529840}"/>
              </a:ext>
            </a:extLst>
          </p:cNvPr>
          <p:cNvSpPr/>
          <p:nvPr/>
        </p:nvSpPr>
        <p:spPr>
          <a:xfrm>
            <a:off x="1411469" y="2989522"/>
            <a:ext cx="2121190" cy="107721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Arial"/>
                <a:ea typeface="+mn-ea"/>
                <a:cs typeface="+mn-cs"/>
              </a:rPr>
              <a:t>Spot checks</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F0682775-5A06-F505-1C7C-2195F041CCA5}"/>
              </a:ext>
            </a:extLst>
          </p:cNvPr>
          <p:cNvSpPr/>
          <p:nvPr/>
        </p:nvSpPr>
        <p:spPr>
          <a:xfrm>
            <a:off x="1411469" y="4261701"/>
            <a:ext cx="2121190" cy="136735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Arial"/>
                <a:ea typeface="+mn-ea"/>
                <a:cs typeface="+mn-cs"/>
              </a:rPr>
              <a:t>Back-checks</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F9FA45AA-0386-549F-E7FF-A8CCE91B4299}"/>
              </a:ext>
            </a:extLst>
          </p:cNvPr>
          <p:cNvSpPr txBox="1"/>
          <p:nvPr/>
        </p:nvSpPr>
        <p:spPr>
          <a:xfrm>
            <a:off x="3742615" y="1833884"/>
            <a:ext cx="8218975"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50% telephone confirmations </a:t>
            </a:r>
            <a:r>
              <a:rPr kumimoji="0" lang="en-IN" sz="1600" b="0" i="0" u="none" strike="noStrike" kern="1200" cap="none" spc="0" normalizeH="0" baseline="0" noProof="0">
                <a:ln>
                  <a:noFill/>
                </a:ln>
                <a:solidFill>
                  <a:prstClr val="black"/>
                </a:solidFill>
                <a:effectLst/>
                <a:uLnTx/>
                <a:uFillTx/>
                <a:latin typeface="Arial"/>
                <a:ea typeface="+mn-ea"/>
                <a:cs typeface="+mn-cs"/>
              </a:rPr>
              <a:t>will done by S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SPs will document and provide regular updates on the status of confirm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For facilities where status reveals </a:t>
            </a:r>
            <a:r>
              <a:rPr kumimoji="0" lang="en-IN" sz="1600" b="1" i="0" u="none" strike="noStrike" kern="1200" cap="none" spc="0" normalizeH="0" baseline="0" noProof="0">
                <a:ln>
                  <a:noFill/>
                </a:ln>
                <a:solidFill>
                  <a:prstClr val="black"/>
                </a:solidFill>
                <a:effectLst/>
                <a:uLnTx/>
                <a:uFillTx/>
                <a:latin typeface="Arial"/>
                <a:ea typeface="+mn-ea"/>
                <a:cs typeface="+mn-cs"/>
              </a:rPr>
              <a:t>no interview conducted, enumerator responsible will be removed</a:t>
            </a:r>
            <a:r>
              <a:rPr kumimoji="0" lang="en-IN" sz="1600" b="0" i="0" u="none" strike="noStrike" kern="1200" cap="none" spc="0" normalizeH="0" baseline="0" noProof="0">
                <a:ln>
                  <a:noFill/>
                </a:ln>
                <a:solidFill>
                  <a:prstClr val="black"/>
                </a:solidFill>
                <a:effectLst/>
                <a:uLnTx/>
                <a:uFillTx/>
                <a:latin typeface="Arial"/>
                <a:ea typeface="+mn-ea"/>
                <a:cs typeface="+mn-cs"/>
              </a:rPr>
              <a:t> from the data collection team</a:t>
            </a: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Box 16">
            <a:extLst>
              <a:ext uri="{FF2B5EF4-FFF2-40B4-BE49-F238E27FC236}">
                <a16:creationId xmlns:a16="http://schemas.microsoft.com/office/drawing/2014/main" id="{066A6DED-283B-E77B-D173-89B687892323}"/>
              </a:ext>
            </a:extLst>
          </p:cNvPr>
          <p:cNvSpPr txBox="1"/>
          <p:nvPr/>
        </p:nvSpPr>
        <p:spPr>
          <a:xfrm>
            <a:off x="3686314" y="2899558"/>
            <a:ext cx="8413094"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5% spot checks/accompaniment </a:t>
            </a:r>
            <a:r>
              <a:rPr kumimoji="0" lang="en-IN" sz="1600" b="0" i="0" u="none" strike="noStrike" kern="1200" cap="none" spc="0" normalizeH="0" baseline="0" noProof="0">
                <a:ln>
                  <a:noFill/>
                </a:ln>
                <a:solidFill>
                  <a:prstClr val="black"/>
                </a:solidFill>
                <a:effectLst/>
                <a:uLnTx/>
                <a:uFillTx/>
                <a:latin typeface="Arial"/>
                <a:ea typeface="+mn-ea"/>
                <a:cs typeface="+mn-cs"/>
              </a:rPr>
              <a:t>will be carried out by SPs where the supervisors will go to 5% randomly selected facilities with the enumerators to check data qu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SPs will document and provide regular updates on the spot chec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Based on the spot checks, the enumerators that need further training will be identified to provider refresher training, if required</a:t>
            </a: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8" name="TextBox 17">
            <a:extLst>
              <a:ext uri="{FF2B5EF4-FFF2-40B4-BE49-F238E27FC236}">
                <a16:creationId xmlns:a16="http://schemas.microsoft.com/office/drawing/2014/main" id="{643981F8-8DDF-A37A-FBD4-15F9CE153429}"/>
              </a:ext>
            </a:extLst>
          </p:cNvPr>
          <p:cNvSpPr txBox="1"/>
          <p:nvPr/>
        </p:nvSpPr>
        <p:spPr>
          <a:xfrm>
            <a:off x="3727072" y="4245001"/>
            <a:ext cx="8331578"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a:ln>
                  <a:noFill/>
                </a:ln>
                <a:solidFill>
                  <a:prstClr val="black"/>
                </a:solidFill>
                <a:effectLst/>
                <a:uLnTx/>
                <a:uFillTx/>
                <a:latin typeface="Arial"/>
                <a:ea typeface="+mn-ea"/>
                <a:cs typeface="+mn-cs"/>
              </a:rPr>
              <a:t>10% back-checks </a:t>
            </a:r>
            <a:r>
              <a:rPr kumimoji="0" lang="en-IN" sz="1600" b="0" i="0" u="none" strike="noStrike" kern="1200" cap="none" spc="0" normalizeH="0" baseline="0" noProof="0">
                <a:ln>
                  <a:noFill/>
                </a:ln>
                <a:solidFill>
                  <a:prstClr val="black"/>
                </a:solidFill>
                <a:effectLst/>
                <a:uLnTx/>
                <a:uFillTx/>
                <a:latin typeface="Arial"/>
                <a:ea typeface="+mn-ea"/>
                <a:cs typeface="+mn-cs"/>
              </a:rPr>
              <a:t>will done by SPs where supervisors will go to 10% facilities with a brief questionnaire to collect data </a:t>
            </a:r>
            <a:r>
              <a:rPr kumimoji="0" lang="en-IN" sz="1600" b="1" i="0" u="none" strike="noStrike" kern="1200" cap="none" spc="0" normalizeH="0" baseline="0" noProof="0">
                <a:ln>
                  <a:noFill/>
                </a:ln>
                <a:solidFill>
                  <a:prstClr val="black"/>
                </a:solidFill>
                <a:effectLst/>
                <a:uLnTx/>
                <a:uFillTx/>
                <a:latin typeface="Arial"/>
                <a:ea typeface="+mn-ea"/>
                <a:cs typeface="+mn-cs"/>
              </a:rPr>
              <a:t>Internal team will provide a common back-checks questionnaire </a:t>
            </a:r>
            <a:r>
              <a:rPr kumimoji="0" lang="en-IN" sz="1600" b="0" i="0" u="none" strike="noStrike" kern="1200" cap="none" spc="0" normalizeH="0" baseline="0" noProof="0">
                <a:ln>
                  <a:noFill/>
                </a:ln>
                <a:solidFill>
                  <a:prstClr val="black"/>
                </a:solidFill>
                <a:effectLst/>
                <a:uLnTx/>
                <a:uFillTx/>
                <a:latin typeface="Arial"/>
                <a:ea typeface="+mn-ea"/>
                <a:cs typeface="+mn-cs"/>
              </a:rPr>
              <a:t>for SPs to follo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Back-checks will be done using tablet assisted interviewing software to ensure consisten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SPs will compare </a:t>
            </a:r>
            <a:r>
              <a:rPr kumimoji="0" lang="en-IN" sz="1600" b="1" i="0" u="none" strike="noStrike" kern="1200" cap="none" spc="0" normalizeH="0" baseline="0" noProof="0">
                <a:ln>
                  <a:noFill/>
                </a:ln>
                <a:solidFill>
                  <a:prstClr val="black"/>
                </a:solidFill>
                <a:effectLst/>
                <a:uLnTx/>
                <a:uFillTx/>
                <a:latin typeface="Arial"/>
                <a:ea typeface="+mn-ea"/>
                <a:cs typeface="+mn-cs"/>
              </a:rPr>
              <a:t>back-checks data with main data </a:t>
            </a:r>
            <a:r>
              <a:rPr kumimoji="0" lang="en-IN" sz="1600" b="0" i="0" u="none" strike="noStrike" kern="1200" cap="none" spc="0" normalizeH="0" baseline="0" noProof="0">
                <a:ln>
                  <a:noFill/>
                </a:ln>
                <a:solidFill>
                  <a:prstClr val="black"/>
                </a:solidFill>
                <a:effectLst/>
                <a:uLnTx/>
                <a:uFillTx/>
                <a:latin typeface="Arial"/>
                <a:ea typeface="+mn-ea"/>
                <a:cs typeface="+mn-cs"/>
              </a:rPr>
              <a:t>and check for inconsistencies</a:t>
            </a: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F479ACC0-785D-4892-56F9-5539187EE01D}"/>
              </a:ext>
            </a:extLst>
          </p:cNvPr>
          <p:cNvSpPr/>
          <p:nvPr/>
        </p:nvSpPr>
        <p:spPr>
          <a:xfrm>
            <a:off x="1411472" y="5744090"/>
            <a:ext cx="2121190" cy="830997"/>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prstClr val="white"/>
                </a:solidFill>
                <a:effectLst/>
                <a:uLnTx/>
                <a:uFillTx/>
                <a:latin typeface="Arial"/>
                <a:ea typeface="+mn-ea"/>
                <a:cs typeface="+mn-cs"/>
              </a:rPr>
              <a:t>GPS checks </a:t>
            </a:r>
            <a:endParaRPr kumimoji="0" lang="en-US" sz="1800" b="1"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A83BA310-B9A8-FF0D-321E-5F547427913B}"/>
              </a:ext>
            </a:extLst>
          </p:cNvPr>
          <p:cNvSpPr txBox="1"/>
          <p:nvPr/>
        </p:nvSpPr>
        <p:spPr>
          <a:xfrm>
            <a:off x="3753710" y="5744090"/>
            <a:ext cx="8413094"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GPS data will be captured and validated based on the facility lo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a:ln>
                  <a:noFill/>
                </a:ln>
                <a:solidFill>
                  <a:prstClr val="black"/>
                </a:solidFill>
                <a:effectLst/>
                <a:uLnTx/>
                <a:uFillTx/>
                <a:latin typeface="Arial"/>
                <a:ea typeface="+mn-ea"/>
                <a:cs typeface="+mn-cs"/>
              </a:rPr>
              <a:t>Enumerators consistently found to be away from the facility location will be questioned and monitored closely</a:t>
            </a:r>
          </a:p>
        </p:txBody>
      </p:sp>
      <p:pic>
        <p:nvPicPr>
          <p:cNvPr id="19" name="Picture 18">
            <a:extLst>
              <a:ext uri="{FF2B5EF4-FFF2-40B4-BE49-F238E27FC236}">
                <a16:creationId xmlns:a16="http://schemas.microsoft.com/office/drawing/2014/main" id="{E87DFA39-FAF9-DDCB-67BA-144C7378F314}"/>
              </a:ext>
            </a:extLst>
          </p:cNvPr>
          <p:cNvPicPr>
            <a:picLocks noChangeAspect="1"/>
          </p:cNvPicPr>
          <p:nvPr/>
        </p:nvPicPr>
        <p:blipFill>
          <a:blip r:embed="rId9"/>
          <a:stretch>
            <a:fillRect/>
          </a:stretch>
        </p:blipFill>
        <p:spPr>
          <a:xfrm>
            <a:off x="259690" y="5702058"/>
            <a:ext cx="957366" cy="885941"/>
          </a:xfrm>
          <a:prstGeom prst="rect">
            <a:avLst/>
          </a:prstGeom>
        </p:spPr>
      </p:pic>
    </p:spTree>
    <p:extLst>
      <p:ext uri="{BB962C8B-B14F-4D97-AF65-F5344CB8AC3E}">
        <p14:creationId xmlns:p14="http://schemas.microsoft.com/office/powerpoint/2010/main" val="2995839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11F112-FC80-7B0F-0C48-52B971FC894B}"/>
              </a:ext>
            </a:extLst>
          </p:cNvPr>
          <p:cNvSpPr txBox="1"/>
          <p:nvPr/>
        </p:nvSpPr>
        <p:spPr>
          <a:xfrm>
            <a:off x="177800" y="129251"/>
            <a:ext cx="5762924" cy="461665"/>
          </a:xfrm>
          <a:prstGeom prst="rect">
            <a:avLst/>
          </a:prstGeom>
          <a:noFill/>
        </p:spPr>
        <p:txBody>
          <a:bodyPr wrap="none" rtlCol="0">
            <a:spAutoFit/>
          </a:bodyPr>
          <a:lstStyle/>
          <a:p>
            <a:r>
              <a:rPr lang="en-US" sz="2400" b="1" dirty="0"/>
              <a:t>Methodology: Data Analysis approach</a:t>
            </a:r>
          </a:p>
        </p:txBody>
      </p:sp>
      <p:sp>
        <p:nvSpPr>
          <p:cNvPr id="4" name="Rectangle 3">
            <a:extLst>
              <a:ext uri="{FF2B5EF4-FFF2-40B4-BE49-F238E27FC236}">
                <a16:creationId xmlns:a16="http://schemas.microsoft.com/office/drawing/2014/main" id="{84140A68-8A97-9E93-F243-49F4DAAE54C6}"/>
              </a:ext>
            </a:extLst>
          </p:cNvPr>
          <p:cNvSpPr/>
          <p:nvPr/>
        </p:nvSpPr>
        <p:spPr>
          <a:xfrm>
            <a:off x="1773936" y="1597306"/>
            <a:ext cx="6015826" cy="236204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Adapt using annex 1 shared</a:t>
            </a:r>
          </a:p>
          <a:p>
            <a:pPr marL="285750" indent="-285750">
              <a:buFont typeface="Arial" panose="020B0604020202020204" pitchFamily="34" charset="0"/>
              <a:buChar char="•"/>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78369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94AD168A-581E-44F3-A877-2165069D125E}"/>
              </a:ext>
            </a:extLst>
          </p:cNvPr>
          <p:cNvSpPr/>
          <p:nvPr/>
        </p:nvSpPr>
        <p:spPr>
          <a:xfrm>
            <a:off x="5269703" y="835388"/>
            <a:ext cx="6807997" cy="5578109"/>
          </a:xfrm>
          <a:prstGeom prst="rect">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Black"/>
                <a:ea typeface="+mj-ea"/>
                <a:cs typeface="+mj-cs"/>
              </a:rPr>
              <a:t> </a:t>
            </a:r>
            <a:endParaRPr kumimoji="0" lang="en-US" sz="2800" b="0" i="0" u="none" strike="noStrike" kern="1200" cap="none" spc="0" normalizeH="0" baseline="0" noProof="0" dirty="0">
              <a:ln>
                <a:noFill/>
              </a:ln>
              <a:solidFill>
                <a:prstClr val="black"/>
              </a:solidFill>
              <a:effectLst/>
              <a:uLnTx/>
              <a:uFillTx/>
              <a:latin typeface="Arial Black"/>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Black"/>
                <a:ea typeface="+mj-ea"/>
                <a:cs typeface="+mj-cs"/>
              </a:rPr>
              <a:t>Facility demographics and </a:t>
            </a:r>
            <a:r>
              <a:rPr kumimoji="0" lang="en-US" sz="2800" b="0" i="0" u="none" strike="noStrike" kern="1200" cap="none" spc="0" normalizeH="0" baseline="0" noProof="0" dirty="0">
                <a:ln>
                  <a:noFill/>
                </a:ln>
                <a:effectLst/>
                <a:uLnTx/>
                <a:uFillTx/>
                <a:latin typeface="Arial Black"/>
                <a:ea typeface="+mj-ea"/>
                <a:cs typeface="+mj-cs"/>
              </a:rPr>
              <a:t>service availability mapping</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Black"/>
              <a:ea typeface="+mj-ea"/>
              <a:cs typeface="+mj-cs"/>
            </a:endParaRPr>
          </a:p>
        </p:txBody>
      </p:sp>
      <p:sp>
        <p:nvSpPr>
          <p:cNvPr id="86" name="Rectangle 85">
            <a:extLst>
              <a:ext uri="{FF2B5EF4-FFF2-40B4-BE49-F238E27FC236}">
                <a16:creationId xmlns:a16="http://schemas.microsoft.com/office/drawing/2014/main" id="{F1C33481-2FF7-4A65-9AEA-9FA4BBCB7604}"/>
              </a:ext>
            </a:extLst>
          </p:cNvPr>
          <p:cNvSpPr/>
          <p:nvPr/>
        </p:nvSpPr>
        <p:spPr>
          <a:xfrm>
            <a:off x="106681" y="917198"/>
            <a:ext cx="4960303" cy="5328984"/>
          </a:xfrm>
          <a:prstGeom prst="rect">
            <a:avLst/>
          </a:prstGeom>
          <a:no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1D1AB4C9-5C11-4EDA-8B73-E85A6D55A150}"/>
              </a:ext>
            </a:extLst>
          </p:cNvPr>
          <p:cNvGrpSpPr/>
          <p:nvPr/>
        </p:nvGrpSpPr>
        <p:grpSpPr>
          <a:xfrm>
            <a:off x="5302250" y="4930775"/>
            <a:ext cx="2282825" cy="588963"/>
            <a:chOff x="5068357" y="4216003"/>
            <a:chExt cx="2282627" cy="964883"/>
          </a:xfrm>
          <a:solidFill>
            <a:srgbClr val="C30C3E"/>
          </a:solidFill>
        </p:grpSpPr>
        <p:sp>
          <p:nvSpPr>
            <p:cNvPr id="90" name="Rounded Rectangle 124">
              <a:extLst>
                <a:ext uri="{FF2B5EF4-FFF2-40B4-BE49-F238E27FC236}">
                  <a16:creationId xmlns:a16="http://schemas.microsoft.com/office/drawing/2014/main" id="{7F7FC2D1-F022-4527-9CFE-70355CAF24AD}"/>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91" name="Picture 90">
              <a:extLst>
                <a:ext uri="{FF2B5EF4-FFF2-40B4-BE49-F238E27FC236}">
                  <a16:creationId xmlns:a16="http://schemas.microsoft.com/office/drawing/2014/main" id="{DA6D9B54-EA0D-4457-9A12-E11204C6A1CF}"/>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93" name="Group 92">
            <a:extLst>
              <a:ext uri="{FF2B5EF4-FFF2-40B4-BE49-F238E27FC236}">
                <a16:creationId xmlns:a16="http://schemas.microsoft.com/office/drawing/2014/main" id="{403DF5C0-E03B-4FA2-97A9-4BDFA7113C8E}"/>
              </a:ext>
            </a:extLst>
          </p:cNvPr>
          <p:cNvGrpSpPr/>
          <p:nvPr/>
        </p:nvGrpSpPr>
        <p:grpSpPr>
          <a:xfrm>
            <a:off x="5302250" y="4251182"/>
            <a:ext cx="2282825" cy="561975"/>
            <a:chOff x="5068357" y="2990850"/>
            <a:chExt cx="2282627" cy="964883"/>
          </a:xfrm>
          <a:solidFill>
            <a:schemeClr val="accent2"/>
          </a:solidFill>
        </p:grpSpPr>
        <p:sp>
          <p:nvSpPr>
            <p:cNvPr id="95" name="Rounded Rectangle 123">
              <a:extLst>
                <a:ext uri="{FF2B5EF4-FFF2-40B4-BE49-F238E27FC236}">
                  <a16:creationId xmlns:a16="http://schemas.microsoft.com/office/drawing/2014/main" id="{B8733329-9AB6-4C6F-953F-2998C40A0935}"/>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96" name="Picture 95">
              <a:extLst>
                <a:ext uri="{FF2B5EF4-FFF2-40B4-BE49-F238E27FC236}">
                  <a16:creationId xmlns:a16="http://schemas.microsoft.com/office/drawing/2014/main" id="{F844C1F8-531A-49B9-9064-FFF442A7F20F}"/>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cxnSp>
        <p:nvCxnSpPr>
          <p:cNvPr id="97" name="Straight Connector 96">
            <a:extLst>
              <a:ext uri="{FF2B5EF4-FFF2-40B4-BE49-F238E27FC236}">
                <a16:creationId xmlns:a16="http://schemas.microsoft.com/office/drawing/2014/main" id="{B8F19402-9D29-4579-B7FD-F4EAAE2C6A51}"/>
              </a:ext>
            </a:extLst>
          </p:cNvPr>
          <p:cNvCxnSpPr/>
          <p:nvPr/>
        </p:nvCxnSpPr>
        <p:spPr>
          <a:xfrm>
            <a:off x="5302250" y="486727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62CAF01-DEFE-4C67-81D8-DC63D9689D81}"/>
              </a:ext>
            </a:extLst>
          </p:cNvPr>
          <p:cNvCxnSpPr/>
          <p:nvPr/>
        </p:nvCxnSpPr>
        <p:spPr>
          <a:xfrm>
            <a:off x="5302250" y="5637213"/>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276B1978-52F3-479F-97A2-9528B75F32ED}"/>
              </a:ext>
            </a:extLst>
          </p:cNvPr>
          <p:cNvGrpSpPr/>
          <p:nvPr/>
        </p:nvGrpSpPr>
        <p:grpSpPr>
          <a:xfrm>
            <a:off x="5302250" y="5721350"/>
            <a:ext cx="2282825" cy="596900"/>
            <a:chOff x="5068357" y="5441155"/>
            <a:chExt cx="2282627" cy="964883"/>
          </a:xfrm>
          <a:solidFill>
            <a:srgbClr val="F9E1A7"/>
          </a:solidFill>
        </p:grpSpPr>
        <p:sp>
          <p:nvSpPr>
            <p:cNvPr id="100" name="Rounded Rectangle 125">
              <a:extLst>
                <a:ext uri="{FF2B5EF4-FFF2-40B4-BE49-F238E27FC236}">
                  <a16:creationId xmlns:a16="http://schemas.microsoft.com/office/drawing/2014/main" id="{C594D784-E755-400D-BB00-90584CBFF3F2}"/>
                </a:ext>
              </a:extLst>
            </p:cNvPr>
            <p:cNvSpPr/>
            <p:nvPr/>
          </p:nvSpPr>
          <p:spPr>
            <a:xfrm>
              <a:off x="5068357" y="5441155"/>
              <a:ext cx="2282627"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01" name="Picture 100">
              <a:extLst>
                <a:ext uri="{FF2B5EF4-FFF2-40B4-BE49-F238E27FC236}">
                  <a16:creationId xmlns:a16="http://schemas.microsoft.com/office/drawing/2014/main" id="{BEDB4F34-AE8F-44AC-891D-9BC82FF455D0}"/>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6801154" y="5984875"/>
              <a:ext cx="371806" cy="371806"/>
            </a:xfrm>
            <a:prstGeom prst="rect">
              <a:avLst/>
            </a:prstGeom>
            <a:noFill/>
          </p:spPr>
        </p:pic>
      </p:grpSp>
      <p:cxnSp>
        <p:nvCxnSpPr>
          <p:cNvPr id="104" name="Straight Connector 103">
            <a:extLst>
              <a:ext uri="{FF2B5EF4-FFF2-40B4-BE49-F238E27FC236}">
                <a16:creationId xmlns:a16="http://schemas.microsoft.com/office/drawing/2014/main" id="{3F87DDC3-EB86-4122-8F0F-86BCA6FD2543}"/>
              </a:ext>
            </a:extLst>
          </p:cNvPr>
          <p:cNvCxnSpPr>
            <a:cxnSpLocks/>
          </p:cNvCxnSpPr>
          <p:nvPr/>
        </p:nvCxnSpPr>
        <p:spPr>
          <a:xfrm>
            <a:off x="5329238" y="380365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BCE63DB9-00EE-47EA-90E8-38F5C2E0D419}"/>
              </a:ext>
            </a:extLst>
          </p:cNvPr>
          <p:cNvSpPr/>
          <p:nvPr/>
        </p:nvSpPr>
        <p:spPr>
          <a:xfrm>
            <a:off x="5287963" y="832079"/>
            <a:ext cx="6692900" cy="309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Distribution of services provided by location and facility type, </a:t>
            </a:r>
            <a:r>
              <a:rPr kumimoji="0" lang="en-US" sz="1200" b="1" i="1" u="none" strike="noStrike" kern="1200" cap="none" spc="0" normalizeH="0" baseline="0" noProof="0" dirty="0">
                <a:ln>
                  <a:noFill/>
                </a:ln>
                <a:solidFill>
                  <a:srgbClr val="2B3A42"/>
                </a:solidFill>
                <a:effectLst/>
                <a:uLnTx/>
                <a:uFillTx/>
                <a:latin typeface="Arial" panose="020B0604020202020204"/>
                <a:ea typeface="+mn-ea"/>
                <a:cs typeface="+mn-cs"/>
              </a:rPr>
              <a:t>%</a:t>
            </a:r>
          </a:p>
        </p:txBody>
      </p:sp>
      <p:cxnSp>
        <p:nvCxnSpPr>
          <p:cNvPr id="106" name="Straight Connector 105">
            <a:extLst>
              <a:ext uri="{FF2B5EF4-FFF2-40B4-BE49-F238E27FC236}">
                <a16:creationId xmlns:a16="http://schemas.microsoft.com/office/drawing/2014/main" id="{F2851223-5AA4-4AC1-BDBD-ED35E888C2FB}"/>
              </a:ext>
            </a:extLst>
          </p:cNvPr>
          <p:cNvCxnSpPr/>
          <p:nvPr/>
        </p:nvCxnSpPr>
        <p:spPr>
          <a:xfrm>
            <a:off x="5302250" y="4122680"/>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F003BAD5-BA25-48D5-AAE7-F4E248781747}"/>
              </a:ext>
            </a:extLst>
          </p:cNvPr>
          <p:cNvSpPr/>
          <p:nvPr/>
        </p:nvSpPr>
        <p:spPr>
          <a:xfrm>
            <a:off x="5287963" y="3751263"/>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type</a:t>
            </a:r>
          </a:p>
        </p:txBody>
      </p:sp>
      <p:sp>
        <p:nvSpPr>
          <p:cNvPr id="108" name="Rectangle 107">
            <a:extLst>
              <a:ext uri="{FF2B5EF4-FFF2-40B4-BE49-F238E27FC236}">
                <a16:creationId xmlns:a16="http://schemas.microsoft.com/office/drawing/2014/main" id="{2964E2D0-6DE8-4D33-8A07-93A6A9D22ED3}"/>
              </a:ext>
            </a:extLst>
          </p:cNvPr>
          <p:cNvSpPr/>
          <p:nvPr/>
        </p:nvSpPr>
        <p:spPr>
          <a:xfrm>
            <a:off x="7640640"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09" name="Rectangle 108">
            <a:extLst>
              <a:ext uri="{FF2B5EF4-FFF2-40B4-BE49-F238E27FC236}">
                <a16:creationId xmlns:a16="http://schemas.microsoft.com/office/drawing/2014/main" id="{64DE9614-67F9-43B2-BD76-D6541A5E8D32}"/>
              </a:ext>
            </a:extLst>
          </p:cNvPr>
          <p:cNvSpPr/>
          <p:nvPr/>
        </p:nvSpPr>
        <p:spPr>
          <a:xfrm>
            <a:off x="8481257"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10" name="Rectangle 109">
            <a:extLst>
              <a:ext uri="{FF2B5EF4-FFF2-40B4-BE49-F238E27FC236}">
                <a16:creationId xmlns:a16="http://schemas.microsoft.com/office/drawing/2014/main" id="{7BEAA5EC-8F6C-4C5F-994E-FDF0DD1C9616}"/>
              </a:ext>
            </a:extLst>
          </p:cNvPr>
          <p:cNvSpPr/>
          <p:nvPr/>
        </p:nvSpPr>
        <p:spPr>
          <a:xfrm>
            <a:off x="9320287" y="3751263"/>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11" name="Rectangle 110">
            <a:extLst>
              <a:ext uri="{FF2B5EF4-FFF2-40B4-BE49-F238E27FC236}">
                <a16:creationId xmlns:a16="http://schemas.microsoft.com/office/drawing/2014/main" id="{10167823-DF0D-43C3-998F-F372880C8147}"/>
              </a:ext>
            </a:extLst>
          </p:cNvPr>
          <p:cNvSpPr/>
          <p:nvPr/>
        </p:nvSpPr>
        <p:spPr>
          <a:xfrm>
            <a:off x="1016090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30" name="Slide Number Placeholder 1">
            <a:extLst>
              <a:ext uri="{FF2B5EF4-FFF2-40B4-BE49-F238E27FC236}">
                <a16:creationId xmlns:a16="http://schemas.microsoft.com/office/drawing/2014/main" id="{1503BBFA-C076-459A-97F1-DDEEF9A3DBCD}"/>
              </a:ext>
            </a:extLst>
          </p:cNvPr>
          <p:cNvSpPr>
            <a:spLocks noGrp="1"/>
          </p:cNvSpPr>
          <p:nvPr>
            <p:ph type="sldNum" sz="quarter" idx="12"/>
          </p:nvPr>
        </p:nvSpPr>
        <p:spPr>
          <a:xfrm>
            <a:off x="10934700" y="6356350"/>
            <a:ext cx="897300" cy="365125"/>
          </a:xfrm>
        </p:spPr>
        <p:txBody>
          <a:bodyPr/>
          <a:lstStyle/>
          <a:p>
            <a:fld id="{9E2BE927-25C7-4379-86F1-C17ED9D2A7F2}" type="slidenum">
              <a:rPr lang="en-US" smtClean="0"/>
              <a:pPr/>
              <a:t>12</a:t>
            </a:fld>
            <a:endParaRPr lang="en-US"/>
          </a:p>
        </p:txBody>
      </p:sp>
      <p:sp>
        <p:nvSpPr>
          <p:cNvPr id="81" name="Rectangle 80">
            <a:extLst>
              <a:ext uri="{FF2B5EF4-FFF2-40B4-BE49-F238E27FC236}">
                <a16:creationId xmlns:a16="http://schemas.microsoft.com/office/drawing/2014/main" id="{08452266-E393-4B2E-B9E2-AB737E260F7F}"/>
              </a:ext>
            </a:extLst>
          </p:cNvPr>
          <p:cNvSpPr/>
          <p:nvPr/>
        </p:nvSpPr>
        <p:spPr>
          <a:xfrm>
            <a:off x="10999934" y="3751263"/>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sp>
        <p:nvSpPr>
          <p:cNvPr id="150" name="Rounded Rectangle 124">
            <a:extLst>
              <a:ext uri="{FF2B5EF4-FFF2-40B4-BE49-F238E27FC236}">
                <a16:creationId xmlns:a16="http://schemas.microsoft.com/office/drawing/2014/main" id="{6DA2B2E6-4B75-4266-BCEF-99C66E8C06A2}"/>
              </a:ext>
            </a:extLst>
          </p:cNvPr>
          <p:cNvSpPr/>
          <p:nvPr/>
        </p:nvSpPr>
        <p:spPr>
          <a:xfrm>
            <a:off x="5310348" y="2287117"/>
            <a:ext cx="2282825" cy="588963"/>
          </a:xfrm>
          <a:prstGeom prst="roundRect">
            <a:avLst>
              <a:gd name="adj" fmla="val 4031"/>
            </a:avLst>
          </a:prstGeom>
          <a:solidFill>
            <a:schemeClr val="accent4">
              <a:lumMod val="60000"/>
              <a:lumOff val="40000"/>
            </a:schemeClr>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latin typeface="Arial" panose="020B0604020202020204"/>
              </a:rPr>
              <a:t>peri-urban</a:t>
            </a:r>
            <a:r>
              <a:rPr kumimoji="0" lang="en-US" sz="1200" b="1" i="0" u="none" strike="noStrike" kern="0" cap="none" spc="0" normalizeH="0" baseline="0" noProof="0" dirty="0">
                <a:ln>
                  <a:noFill/>
                </a:ln>
                <a:effectLst/>
                <a:uLnTx/>
                <a:uFillTx/>
                <a:latin typeface="Arial" panose="020B0604020202020204"/>
                <a:ea typeface="+mn-ea"/>
                <a:cs typeface="+mn-cs"/>
              </a:rPr>
              <a:t> areas</a:t>
            </a:r>
          </a:p>
        </p:txBody>
      </p:sp>
      <p:sp>
        <p:nvSpPr>
          <p:cNvPr id="153" name="Rounded Rectangle 123">
            <a:extLst>
              <a:ext uri="{FF2B5EF4-FFF2-40B4-BE49-F238E27FC236}">
                <a16:creationId xmlns:a16="http://schemas.microsoft.com/office/drawing/2014/main" id="{40F2A0FE-B28A-496E-8277-0752483004A4}"/>
              </a:ext>
            </a:extLst>
          </p:cNvPr>
          <p:cNvSpPr/>
          <p:nvPr/>
        </p:nvSpPr>
        <p:spPr>
          <a:xfrm>
            <a:off x="5310348" y="1596555"/>
            <a:ext cx="2282825" cy="561975"/>
          </a:xfrm>
          <a:prstGeom prst="roundRect">
            <a:avLst>
              <a:gd name="adj" fmla="val 5084"/>
            </a:avLst>
          </a:prstGeom>
          <a:solidFill>
            <a:schemeClr val="accent4">
              <a:lumMod val="50000"/>
            </a:schemeClr>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bg1"/>
                </a:solidFill>
                <a:latin typeface="Arial" panose="020B0604020202020204"/>
              </a:rPr>
              <a:t>r</a:t>
            </a:r>
            <a:r>
              <a:rPr kumimoji="0" lang="en-US" sz="1200" b="1" i="0" u="none" strike="noStrike" kern="0" cap="none" spc="0" normalizeH="0" baseline="0" noProof="0" dirty="0" err="1">
                <a:ln>
                  <a:noFill/>
                </a:ln>
                <a:solidFill>
                  <a:schemeClr val="bg1"/>
                </a:solidFill>
                <a:effectLst/>
                <a:uLnTx/>
                <a:uFillTx/>
                <a:latin typeface="Arial" panose="020B0604020202020204"/>
                <a:ea typeface="+mn-ea"/>
                <a:cs typeface="+mn-cs"/>
              </a:rPr>
              <a:t>ural</a:t>
            </a: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 areas</a:t>
            </a:r>
          </a:p>
        </p:txBody>
      </p:sp>
      <p:cxnSp>
        <p:nvCxnSpPr>
          <p:cNvPr id="155" name="Straight Connector 154">
            <a:extLst>
              <a:ext uri="{FF2B5EF4-FFF2-40B4-BE49-F238E27FC236}">
                <a16:creationId xmlns:a16="http://schemas.microsoft.com/office/drawing/2014/main" id="{C7EA9ED6-8D0E-4830-AA5F-7DE7BEA869BA}"/>
              </a:ext>
            </a:extLst>
          </p:cNvPr>
          <p:cNvCxnSpPr/>
          <p:nvPr/>
        </p:nvCxnSpPr>
        <p:spPr>
          <a:xfrm>
            <a:off x="5310348" y="2223617"/>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EB7030E-E1AD-470B-9B99-A6C7E99B31FA}"/>
              </a:ext>
            </a:extLst>
          </p:cNvPr>
          <p:cNvCxnSpPr/>
          <p:nvPr/>
        </p:nvCxnSpPr>
        <p:spPr>
          <a:xfrm>
            <a:off x="5310348" y="2993555"/>
            <a:ext cx="653415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8" name="Rounded Rectangle 125">
            <a:extLst>
              <a:ext uri="{FF2B5EF4-FFF2-40B4-BE49-F238E27FC236}">
                <a16:creationId xmlns:a16="http://schemas.microsoft.com/office/drawing/2014/main" id="{426BF24A-C216-471A-8035-AA74851C92D7}"/>
              </a:ext>
            </a:extLst>
          </p:cNvPr>
          <p:cNvSpPr/>
          <p:nvPr/>
        </p:nvSpPr>
        <p:spPr>
          <a:xfrm>
            <a:off x="5310348" y="3077692"/>
            <a:ext cx="2282825" cy="596900"/>
          </a:xfrm>
          <a:prstGeom prst="roundRect">
            <a:avLst>
              <a:gd name="adj" fmla="val 5084"/>
            </a:avLst>
          </a:prstGeom>
          <a:solidFill>
            <a:schemeClr val="accent4">
              <a:lumMod val="20000"/>
              <a:lumOff val="80000"/>
            </a:schemeClr>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Health care facilities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a:ea typeface="+mn-ea"/>
                <a:cs typeface="+mn-cs"/>
              </a:rPr>
              <a:t>urban areas</a:t>
            </a:r>
          </a:p>
        </p:txBody>
      </p:sp>
      <p:cxnSp>
        <p:nvCxnSpPr>
          <p:cNvPr id="162" name="Straight Connector 161">
            <a:extLst>
              <a:ext uri="{FF2B5EF4-FFF2-40B4-BE49-F238E27FC236}">
                <a16:creationId xmlns:a16="http://schemas.microsoft.com/office/drawing/2014/main" id="{66F19B1B-62FB-44DB-826A-D5743E49A1E2}"/>
              </a:ext>
            </a:extLst>
          </p:cNvPr>
          <p:cNvCxnSpPr>
            <a:cxnSpLocks/>
          </p:cNvCxnSpPr>
          <p:nvPr/>
        </p:nvCxnSpPr>
        <p:spPr>
          <a:xfrm>
            <a:off x="5337336" y="115999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5192C61-D631-4C66-BA94-932271C92C3B}"/>
              </a:ext>
            </a:extLst>
          </p:cNvPr>
          <p:cNvCxnSpPr/>
          <p:nvPr/>
        </p:nvCxnSpPr>
        <p:spPr>
          <a:xfrm>
            <a:off x="5310348" y="1479022"/>
            <a:ext cx="6619875"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406FACA9-38F1-4E34-9F46-CBBB0A649E70}"/>
              </a:ext>
            </a:extLst>
          </p:cNvPr>
          <p:cNvSpPr/>
          <p:nvPr/>
        </p:nvSpPr>
        <p:spPr>
          <a:xfrm>
            <a:off x="5296061" y="1107605"/>
            <a:ext cx="22971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Facility location</a:t>
            </a:r>
          </a:p>
        </p:txBody>
      </p:sp>
      <p:sp>
        <p:nvSpPr>
          <p:cNvPr id="165" name="Rectangle 164">
            <a:extLst>
              <a:ext uri="{FF2B5EF4-FFF2-40B4-BE49-F238E27FC236}">
                <a16:creationId xmlns:a16="http://schemas.microsoft.com/office/drawing/2014/main" id="{4BA109D7-00E1-494F-8716-D69965C9953C}"/>
              </a:ext>
            </a:extLst>
          </p:cNvPr>
          <p:cNvSpPr/>
          <p:nvPr/>
        </p:nvSpPr>
        <p:spPr>
          <a:xfrm>
            <a:off x="7648738"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HIV</a:t>
            </a:r>
          </a:p>
        </p:txBody>
      </p:sp>
      <p:sp>
        <p:nvSpPr>
          <p:cNvPr id="166" name="Rectangle 165">
            <a:extLst>
              <a:ext uri="{FF2B5EF4-FFF2-40B4-BE49-F238E27FC236}">
                <a16:creationId xmlns:a16="http://schemas.microsoft.com/office/drawing/2014/main" id="{10CA26C0-9AB1-4E13-92D1-9E5F648A9173}"/>
              </a:ext>
            </a:extLst>
          </p:cNvPr>
          <p:cNvSpPr/>
          <p:nvPr/>
        </p:nvSpPr>
        <p:spPr>
          <a:xfrm>
            <a:off x="8489355"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TB</a:t>
            </a:r>
          </a:p>
        </p:txBody>
      </p:sp>
      <p:sp>
        <p:nvSpPr>
          <p:cNvPr id="167" name="Rectangle 166">
            <a:extLst>
              <a:ext uri="{FF2B5EF4-FFF2-40B4-BE49-F238E27FC236}">
                <a16:creationId xmlns:a16="http://schemas.microsoft.com/office/drawing/2014/main" id="{7B173EFC-DE10-4B7D-95A1-ECADD31AD9FF}"/>
              </a:ext>
            </a:extLst>
          </p:cNvPr>
          <p:cNvSpPr/>
          <p:nvPr/>
        </p:nvSpPr>
        <p:spPr>
          <a:xfrm>
            <a:off x="9328385" y="1107605"/>
            <a:ext cx="965200"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Malaria</a:t>
            </a:r>
          </a:p>
        </p:txBody>
      </p:sp>
      <p:sp>
        <p:nvSpPr>
          <p:cNvPr id="168" name="Rectangle 167">
            <a:extLst>
              <a:ext uri="{FF2B5EF4-FFF2-40B4-BE49-F238E27FC236}">
                <a16:creationId xmlns:a16="http://schemas.microsoft.com/office/drawing/2014/main" id="{AAEEF12C-7AB2-4CA0-9813-B08C95827D46}"/>
              </a:ext>
            </a:extLst>
          </p:cNvPr>
          <p:cNvSpPr/>
          <p:nvPr/>
        </p:nvSpPr>
        <p:spPr>
          <a:xfrm>
            <a:off x="1016900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NC</a:t>
            </a:r>
          </a:p>
        </p:txBody>
      </p:sp>
      <p:sp>
        <p:nvSpPr>
          <p:cNvPr id="169" name="TextBox 168">
            <a:extLst>
              <a:ext uri="{FF2B5EF4-FFF2-40B4-BE49-F238E27FC236}">
                <a16:creationId xmlns:a16="http://schemas.microsoft.com/office/drawing/2014/main" id="{6D1F0FF3-B93A-4F09-B38D-4A9D424BFD11}"/>
              </a:ext>
            </a:extLst>
          </p:cNvPr>
          <p:cNvSpPr txBox="1"/>
          <p:nvPr/>
        </p:nvSpPr>
        <p:spPr>
          <a:xfrm>
            <a:off x="11102689" y="1701515"/>
            <a:ext cx="646112" cy="338554"/>
          </a:xfrm>
          <a:prstGeom prst="rect">
            <a:avLst/>
          </a:prstGeom>
          <a:noFill/>
        </p:spPr>
        <p:txBody>
          <a:bodyPr wrap="square" rtlCol="0">
            <a:spAutoFit/>
          </a:bodyPr>
          <a:lstStyle/>
          <a:p>
            <a:r>
              <a:rPr lang="en-US" sz="1600" dirty="0"/>
              <a:t>N/A</a:t>
            </a:r>
          </a:p>
        </p:txBody>
      </p:sp>
      <p:graphicFrame>
        <p:nvGraphicFramePr>
          <p:cNvPr id="170" name="Chart 169">
            <a:extLst>
              <a:ext uri="{FF2B5EF4-FFF2-40B4-BE49-F238E27FC236}">
                <a16:creationId xmlns:a16="http://schemas.microsoft.com/office/drawing/2014/main" id="{E4D21F53-D4AA-421C-9003-0A694F16F46B}"/>
              </a:ext>
            </a:extLst>
          </p:cNvPr>
          <p:cNvGraphicFramePr/>
          <p:nvPr>
            <p:custDataLst>
              <p:tags r:id="rId2"/>
            </p:custDataLst>
            <p:extLst>
              <p:ext uri="{D42A27DB-BD31-4B8C-83A1-F6EECF244321}">
                <p14:modId xmlns:p14="http://schemas.microsoft.com/office/powerpoint/2010/main" val="2139242004"/>
              </p:ext>
            </p:extLst>
          </p:nvPr>
        </p:nvGraphicFramePr>
        <p:xfrm>
          <a:off x="7656673" y="1482731"/>
          <a:ext cx="4332288" cy="754063"/>
        </p:xfrm>
        <a:graphic>
          <a:graphicData uri="http://schemas.openxmlformats.org/drawingml/2006/chart">
            <c:chart xmlns:c="http://schemas.openxmlformats.org/drawingml/2006/chart" xmlns:r="http://schemas.openxmlformats.org/officeDocument/2006/relationships" r:id="rId15"/>
          </a:graphicData>
        </a:graphic>
      </p:graphicFrame>
      <p:sp>
        <p:nvSpPr>
          <p:cNvPr id="171" name="Rectangle 170">
            <a:extLst>
              <a:ext uri="{FF2B5EF4-FFF2-40B4-BE49-F238E27FC236}">
                <a16:creationId xmlns:a16="http://schemas.microsoft.com/office/drawing/2014/main" id="{17348C60-1568-4B6A-9C84-942BF8BDAE66}"/>
              </a:ext>
            </a:extLst>
          </p:cNvPr>
          <p:cNvSpPr/>
          <p:nvPr/>
        </p:nvSpPr>
        <p:spPr>
          <a:xfrm>
            <a:off x="11008032" y="1107605"/>
            <a:ext cx="963613" cy="423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2B3A42"/>
                </a:solidFill>
                <a:effectLst/>
                <a:uLnTx/>
                <a:uFillTx/>
                <a:latin typeface="Arial" panose="020B0604020202020204"/>
                <a:ea typeface="+mn-ea"/>
                <a:cs typeface="+mn-cs"/>
              </a:rPr>
              <a:t>Immu</a:t>
            </a:r>
            <a:r>
              <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rPr>
              <a:t>.</a:t>
            </a:r>
          </a:p>
        </p:txBody>
      </p:sp>
      <p:cxnSp>
        <p:nvCxnSpPr>
          <p:cNvPr id="84" name="Straight Connector 83">
            <a:extLst>
              <a:ext uri="{FF2B5EF4-FFF2-40B4-BE49-F238E27FC236}">
                <a16:creationId xmlns:a16="http://schemas.microsoft.com/office/drawing/2014/main" id="{9A12FAF2-AD40-4BB5-B517-CC3A17A5A504}"/>
              </a:ext>
            </a:extLst>
          </p:cNvPr>
          <p:cNvCxnSpPr>
            <a:cxnSpLocks/>
          </p:cNvCxnSpPr>
          <p:nvPr/>
        </p:nvCxnSpPr>
        <p:spPr>
          <a:xfrm>
            <a:off x="157833" y="1218047"/>
            <a:ext cx="486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20C8EFF4-2A98-444D-93D4-025A82167FD7}"/>
              </a:ext>
            </a:extLst>
          </p:cNvPr>
          <p:cNvSpPr txBox="1"/>
          <p:nvPr/>
        </p:nvSpPr>
        <p:spPr>
          <a:xfrm>
            <a:off x="114299" y="941048"/>
            <a:ext cx="4920037" cy="276999"/>
          </a:xfrm>
          <a:prstGeom prst="rect">
            <a:avLst/>
          </a:prstGeom>
          <a:noFill/>
        </p:spPr>
        <p:txBody>
          <a:bodyPr wrap="square" rtlCol="0">
            <a:spAutoFit/>
          </a:bodyPr>
          <a:lstStyle/>
          <a:p>
            <a:pPr>
              <a:spcBef>
                <a:spcPts val="600"/>
              </a:spcBef>
              <a:spcAft>
                <a:spcPts val="600"/>
              </a:spcAft>
            </a:pPr>
            <a:r>
              <a:rPr lang="en-GB" sz="1200" b="1" dirty="0"/>
              <a:t>Map of Malawi showing geographical spread of visited facilities</a:t>
            </a:r>
          </a:p>
        </p:txBody>
      </p:sp>
      <p:pic>
        <p:nvPicPr>
          <p:cNvPr id="5" name="Picture 4" descr="A map of the country&#10;&#10;Description automatically generated">
            <a:extLst>
              <a:ext uri="{FF2B5EF4-FFF2-40B4-BE49-F238E27FC236}">
                <a16:creationId xmlns:a16="http://schemas.microsoft.com/office/drawing/2014/main" id="{EFED78F9-BB4E-4CF1-AE1F-FB84A6AFBB93}"/>
              </a:ext>
            </a:extLst>
          </p:cNvPr>
          <p:cNvPicPr>
            <a:picLocks noChangeAspect="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21488" r="45057"/>
          <a:stretch/>
        </p:blipFill>
        <p:spPr>
          <a:xfrm>
            <a:off x="1317591" y="979100"/>
            <a:ext cx="2538483" cy="5364889"/>
          </a:xfrm>
          <a:prstGeom prst="rect">
            <a:avLst/>
          </a:prstGeom>
        </p:spPr>
      </p:pic>
      <p:sp>
        <p:nvSpPr>
          <p:cNvPr id="89" name="Rectangle 88">
            <a:extLst>
              <a:ext uri="{FF2B5EF4-FFF2-40B4-BE49-F238E27FC236}">
                <a16:creationId xmlns:a16="http://schemas.microsoft.com/office/drawing/2014/main" id="{9EB6617D-3150-45AB-A3D7-972343DE7314}"/>
              </a:ext>
            </a:extLst>
          </p:cNvPr>
          <p:cNvSpPr/>
          <p:nvPr/>
        </p:nvSpPr>
        <p:spPr>
          <a:xfrm>
            <a:off x="6829156" y="3365020"/>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tx1">
                    <a:lumMod val="65000"/>
                    <a:lumOff val="35000"/>
                  </a:schemeClr>
                </a:solidFill>
                <a:effectLst/>
                <a:uLnTx/>
                <a:uFillTx/>
                <a:latin typeface="Arial" panose="020B0604020202020204"/>
                <a:ea typeface="+mn-ea"/>
                <a:cs typeface="+mn-cs"/>
              </a:rPr>
              <a:t>N = 23</a:t>
            </a:r>
          </a:p>
        </p:txBody>
      </p:sp>
      <p:sp>
        <p:nvSpPr>
          <p:cNvPr id="92" name="Rectangle 91">
            <a:extLst>
              <a:ext uri="{FF2B5EF4-FFF2-40B4-BE49-F238E27FC236}">
                <a16:creationId xmlns:a16="http://schemas.microsoft.com/office/drawing/2014/main" id="{E7741CC0-4C07-4D27-A875-05FE383659EE}"/>
              </a:ext>
            </a:extLst>
          </p:cNvPr>
          <p:cNvSpPr/>
          <p:nvPr/>
        </p:nvSpPr>
        <p:spPr>
          <a:xfrm>
            <a:off x="6829156" y="2587859"/>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tx1">
                    <a:lumMod val="65000"/>
                    <a:lumOff val="35000"/>
                  </a:schemeClr>
                </a:solidFill>
                <a:effectLst/>
                <a:uLnTx/>
                <a:uFillTx/>
                <a:latin typeface="Arial" panose="020B0604020202020204"/>
                <a:ea typeface="+mn-ea"/>
                <a:cs typeface="+mn-cs"/>
              </a:rPr>
              <a:t>N = 13</a:t>
            </a:r>
          </a:p>
        </p:txBody>
      </p:sp>
      <p:sp>
        <p:nvSpPr>
          <p:cNvPr id="94" name="Rectangle 93">
            <a:extLst>
              <a:ext uri="{FF2B5EF4-FFF2-40B4-BE49-F238E27FC236}">
                <a16:creationId xmlns:a16="http://schemas.microsoft.com/office/drawing/2014/main" id="{217607ED-4E2F-48C1-A9CF-F16F40BCEB4C}"/>
              </a:ext>
            </a:extLst>
          </p:cNvPr>
          <p:cNvSpPr/>
          <p:nvPr/>
        </p:nvSpPr>
        <p:spPr>
          <a:xfrm>
            <a:off x="6829156" y="1879273"/>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bg1"/>
                </a:solidFill>
                <a:effectLst/>
                <a:uLnTx/>
                <a:uFillTx/>
                <a:latin typeface="Arial" panose="020B0604020202020204"/>
                <a:ea typeface="+mn-ea"/>
                <a:cs typeface="+mn-cs"/>
              </a:rPr>
              <a:t>N = 84</a:t>
            </a:r>
          </a:p>
        </p:txBody>
      </p:sp>
      <p:sp>
        <p:nvSpPr>
          <p:cNvPr id="112" name="Rectangle 111">
            <a:extLst>
              <a:ext uri="{FF2B5EF4-FFF2-40B4-BE49-F238E27FC236}">
                <a16:creationId xmlns:a16="http://schemas.microsoft.com/office/drawing/2014/main" id="{58D3CD38-A3C1-445F-88E5-F7FE4CD7631C}"/>
              </a:ext>
            </a:extLst>
          </p:cNvPr>
          <p:cNvSpPr/>
          <p:nvPr/>
        </p:nvSpPr>
        <p:spPr>
          <a:xfrm>
            <a:off x="6389570" y="6069674"/>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bg1"/>
                </a:solidFill>
                <a:effectLst/>
                <a:uLnTx/>
                <a:uFillTx/>
                <a:latin typeface="Arial" panose="020B0604020202020204"/>
                <a:ea typeface="+mn-ea"/>
                <a:cs typeface="+mn-cs"/>
              </a:rPr>
              <a:t>N = 4</a:t>
            </a:r>
          </a:p>
        </p:txBody>
      </p:sp>
      <p:sp>
        <p:nvSpPr>
          <p:cNvPr id="113" name="Rectangle 112">
            <a:extLst>
              <a:ext uri="{FF2B5EF4-FFF2-40B4-BE49-F238E27FC236}">
                <a16:creationId xmlns:a16="http://schemas.microsoft.com/office/drawing/2014/main" id="{C279195F-9A3A-4CC2-9FB7-C75BBC1889EF}"/>
              </a:ext>
            </a:extLst>
          </p:cNvPr>
          <p:cNvSpPr/>
          <p:nvPr/>
        </p:nvSpPr>
        <p:spPr>
          <a:xfrm>
            <a:off x="6389570" y="5277272"/>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bg1">
                    <a:lumMod val="85000"/>
                  </a:schemeClr>
                </a:solidFill>
                <a:effectLst/>
                <a:uLnTx/>
                <a:uFillTx/>
                <a:latin typeface="Arial" panose="020B0604020202020204"/>
                <a:ea typeface="+mn-ea"/>
                <a:cs typeface="+mn-cs"/>
              </a:rPr>
              <a:t>N = 53</a:t>
            </a:r>
          </a:p>
        </p:txBody>
      </p:sp>
      <p:sp>
        <p:nvSpPr>
          <p:cNvPr id="114" name="Rectangle 113">
            <a:extLst>
              <a:ext uri="{FF2B5EF4-FFF2-40B4-BE49-F238E27FC236}">
                <a16:creationId xmlns:a16="http://schemas.microsoft.com/office/drawing/2014/main" id="{6ADFF96A-F99A-481D-9018-712B24723AE7}"/>
              </a:ext>
            </a:extLst>
          </p:cNvPr>
          <p:cNvSpPr/>
          <p:nvPr/>
        </p:nvSpPr>
        <p:spPr>
          <a:xfrm>
            <a:off x="6389570" y="4558526"/>
            <a:ext cx="726157" cy="245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schemeClr val="tx1">
                    <a:lumMod val="65000"/>
                    <a:lumOff val="35000"/>
                  </a:schemeClr>
                </a:solidFill>
                <a:effectLst/>
                <a:uLnTx/>
                <a:uFillTx/>
                <a:latin typeface="Arial" panose="020B0604020202020204"/>
                <a:ea typeface="+mn-ea"/>
                <a:cs typeface="+mn-cs"/>
              </a:rPr>
              <a:t>N = 63</a:t>
            </a:r>
          </a:p>
        </p:txBody>
      </p:sp>
      <p:graphicFrame>
        <p:nvGraphicFramePr>
          <p:cNvPr id="116" name="Chart 115">
            <a:extLst>
              <a:ext uri="{FF2B5EF4-FFF2-40B4-BE49-F238E27FC236}">
                <a16:creationId xmlns:a16="http://schemas.microsoft.com/office/drawing/2014/main" id="{3ACC39E4-C3A9-415B-B9E1-6897BFED2433}"/>
              </a:ext>
            </a:extLst>
          </p:cNvPr>
          <p:cNvGraphicFramePr/>
          <p:nvPr>
            <p:custDataLst>
              <p:tags r:id="rId3"/>
            </p:custDataLst>
            <p:extLst>
              <p:ext uri="{D42A27DB-BD31-4B8C-83A1-F6EECF244321}">
                <p14:modId xmlns:p14="http://schemas.microsoft.com/office/powerpoint/2010/main" val="517388828"/>
              </p:ext>
            </p:extLst>
          </p:nvPr>
        </p:nvGraphicFramePr>
        <p:xfrm>
          <a:off x="7656673" y="2226868"/>
          <a:ext cx="4332288" cy="75406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17" name="Chart 116">
            <a:extLst>
              <a:ext uri="{FF2B5EF4-FFF2-40B4-BE49-F238E27FC236}">
                <a16:creationId xmlns:a16="http://schemas.microsoft.com/office/drawing/2014/main" id="{E812B4EA-AEB4-4C5C-A4C5-F8DA2A8BC827}"/>
              </a:ext>
            </a:extLst>
          </p:cNvPr>
          <p:cNvGraphicFramePr/>
          <p:nvPr>
            <p:custDataLst>
              <p:tags r:id="rId4"/>
            </p:custDataLst>
            <p:extLst>
              <p:ext uri="{D42A27DB-BD31-4B8C-83A1-F6EECF244321}">
                <p14:modId xmlns:p14="http://schemas.microsoft.com/office/powerpoint/2010/main" val="1830595211"/>
              </p:ext>
            </p:extLst>
          </p:nvPr>
        </p:nvGraphicFramePr>
        <p:xfrm>
          <a:off x="7656673" y="2971006"/>
          <a:ext cx="4332288" cy="75406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18" name="Chart 117">
            <a:extLst>
              <a:ext uri="{FF2B5EF4-FFF2-40B4-BE49-F238E27FC236}">
                <a16:creationId xmlns:a16="http://schemas.microsoft.com/office/drawing/2014/main" id="{7FB56DF0-579B-4E7C-AABD-D24C7BCFEE50}"/>
              </a:ext>
            </a:extLst>
          </p:cNvPr>
          <p:cNvGraphicFramePr/>
          <p:nvPr>
            <p:custDataLst>
              <p:tags r:id="rId5"/>
            </p:custDataLst>
            <p:extLst>
              <p:ext uri="{D42A27DB-BD31-4B8C-83A1-F6EECF244321}">
                <p14:modId xmlns:p14="http://schemas.microsoft.com/office/powerpoint/2010/main" val="624891112"/>
              </p:ext>
            </p:extLst>
          </p:nvPr>
        </p:nvGraphicFramePr>
        <p:xfrm>
          <a:off x="7665243" y="4155138"/>
          <a:ext cx="4332288" cy="75406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19" name="Chart 118">
            <a:extLst>
              <a:ext uri="{FF2B5EF4-FFF2-40B4-BE49-F238E27FC236}">
                <a16:creationId xmlns:a16="http://schemas.microsoft.com/office/drawing/2014/main" id="{7E95528D-FB47-4E57-914D-3EA4254870B2}"/>
              </a:ext>
            </a:extLst>
          </p:cNvPr>
          <p:cNvGraphicFramePr/>
          <p:nvPr>
            <p:custDataLst>
              <p:tags r:id="rId6"/>
            </p:custDataLst>
            <p:extLst>
              <p:ext uri="{D42A27DB-BD31-4B8C-83A1-F6EECF244321}">
                <p14:modId xmlns:p14="http://schemas.microsoft.com/office/powerpoint/2010/main" val="2109126504"/>
              </p:ext>
            </p:extLst>
          </p:nvPr>
        </p:nvGraphicFramePr>
        <p:xfrm>
          <a:off x="7654345" y="4894262"/>
          <a:ext cx="4332288" cy="75406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20" name="Chart 119">
            <a:extLst>
              <a:ext uri="{FF2B5EF4-FFF2-40B4-BE49-F238E27FC236}">
                <a16:creationId xmlns:a16="http://schemas.microsoft.com/office/drawing/2014/main" id="{A19C0A74-B96B-4E7F-9752-8A3FDCD10440}"/>
              </a:ext>
            </a:extLst>
          </p:cNvPr>
          <p:cNvGraphicFramePr/>
          <p:nvPr>
            <p:custDataLst>
              <p:tags r:id="rId7"/>
            </p:custDataLst>
            <p:extLst>
              <p:ext uri="{D42A27DB-BD31-4B8C-83A1-F6EECF244321}">
                <p14:modId xmlns:p14="http://schemas.microsoft.com/office/powerpoint/2010/main" val="2144083991"/>
              </p:ext>
            </p:extLst>
          </p:nvPr>
        </p:nvGraphicFramePr>
        <p:xfrm>
          <a:off x="7643447" y="5614136"/>
          <a:ext cx="4332288" cy="75406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val="1758967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605" y="1309753"/>
            <a:ext cx="3049234" cy="3777805"/>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6" name="Oval 25">
            <a:extLst>
              <a:ext uri="{FF2B5EF4-FFF2-40B4-BE49-F238E27FC236}">
                <a16:creationId xmlns:a16="http://schemas.microsoft.com/office/drawing/2014/main" id="{F1A76B19-A03F-486F-AD58-3ADF918915DD}"/>
              </a:ext>
            </a:extLst>
          </p:cNvPr>
          <p:cNvSpPr/>
          <p:nvPr/>
        </p:nvSpPr>
        <p:spPr>
          <a:xfrm>
            <a:off x="9448437" y="724502"/>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8128" y="1309222"/>
            <a:ext cx="3049234" cy="3778336"/>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2255" y="1950731"/>
            <a:ext cx="2007490"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32027" y="1307361"/>
            <a:ext cx="3041143" cy="3780197"/>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66972" y="1824036"/>
            <a:ext cx="2377440" cy="342950"/>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a:p>
            <a:pPr>
              <a:lnSpc>
                <a:spcPct val="110000"/>
              </a:lnSpc>
              <a:defRPr/>
            </a:pPr>
            <a:endParaRPr lang="en-US" sz="1800" b="0" i="0" u="none" strike="noStrike" kern="1200" cap="none" spc="0" normalizeH="0" baseline="0" noProof="0">
              <a:ln>
                <a:noFill/>
              </a:ln>
              <a:solidFill>
                <a:schemeClr val="bg2"/>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997" y="787198"/>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07217" y="849894"/>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6672" y="788786"/>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53575" y="3061400"/>
            <a:ext cx="2596843" cy="131025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9396" y="2750433"/>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Provides a description of </a:t>
            </a:r>
            <a:r>
              <a:rPr lang="en-US" kern="0">
                <a:solidFill>
                  <a:schemeClr val="bg2"/>
                </a:solidFill>
                <a:latin typeface="Arial" panose="020B0604020202020204"/>
              </a:rPr>
              <a:t>the </a:t>
            </a:r>
            <a:r>
              <a:rPr lang="en-US" b="1" kern="0">
                <a:solidFill>
                  <a:schemeClr val="bg2"/>
                </a:solidFill>
                <a:latin typeface="Arial" panose="020B0604020202020204"/>
              </a:rPr>
              <a:t>sampling</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solidFill>
                <a:effectLst/>
                <a:uLnTx/>
                <a:uFillTx/>
                <a:latin typeface="Arial" panose="020B0604020202020204"/>
                <a:ea typeface="+mn-ea"/>
                <a:cs typeface="+mn-cs"/>
              </a:rPr>
              <a:t> approach, as well as challenges encountered in methodology, if any</a:t>
            </a:r>
            <a:r>
              <a:rPr lang="en-US" kern="0">
                <a:solidFill>
                  <a:schemeClr val="bg2"/>
                </a:solidFill>
                <a:latin typeface="Arial" panose="020B0604020202020204"/>
              </a:rPr>
              <a:t>.</a:t>
            </a:r>
            <a:endParaRPr lang="en-US">
              <a:solidFill>
                <a:schemeClr val="bg2"/>
              </a:solidFill>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4193" y="3286758"/>
            <a:ext cx="2734325" cy="733735"/>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522" y="2531018"/>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585" y="2531017"/>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7003" y="2531018"/>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814AADA-406B-5E20-833F-471C6894B3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9922" y="882173"/>
            <a:ext cx="914400" cy="914400"/>
          </a:xfrm>
          <a:prstGeom prst="rect">
            <a:avLst/>
          </a:prstGeom>
        </p:spPr>
      </p:pic>
      <p:pic>
        <p:nvPicPr>
          <p:cNvPr id="10" name="Graphic 14" descr="Clipboard outline">
            <a:extLst>
              <a:ext uri="{FF2B5EF4-FFF2-40B4-BE49-F238E27FC236}">
                <a16:creationId xmlns:a16="http://schemas.microsoft.com/office/drawing/2014/main" id="{9B1F5DFF-6ECB-2E44-D7CF-DAF18F20A7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3544" y="865952"/>
            <a:ext cx="817944" cy="798654"/>
          </a:xfrm>
          <a:prstGeom prst="rect">
            <a:avLst/>
          </a:prstGeom>
        </p:spPr>
      </p:pic>
      <p:sp>
        <p:nvSpPr>
          <p:cNvPr id="2" name="Slide Number Placeholder 1">
            <a:extLst>
              <a:ext uri="{FF2B5EF4-FFF2-40B4-BE49-F238E27FC236}">
                <a16:creationId xmlns:a16="http://schemas.microsoft.com/office/drawing/2014/main" id="{0377FFFE-F29D-9EA2-3D1F-3D2110527C70}"/>
              </a:ext>
            </a:extLst>
          </p:cNvPr>
          <p:cNvSpPr>
            <a:spLocks noGrp="1"/>
          </p:cNvSpPr>
          <p:nvPr>
            <p:ph type="sldNum" sz="quarter" idx="23"/>
          </p:nvPr>
        </p:nvSpPr>
        <p:spPr/>
        <p:txBody>
          <a:bodyPr/>
          <a:lstStyle/>
          <a:p>
            <a:fld id="{1B2D2347-4BA4-BC41-B48C-85D3549E683F}" type="slidenum">
              <a:rPr lang="en-US" smtClean="0"/>
              <a:pPr/>
              <a:t>13</a:t>
            </a:fld>
            <a:endParaRPr lang="en-US"/>
          </a:p>
        </p:txBody>
      </p:sp>
      <p:sp>
        <p:nvSpPr>
          <p:cNvPr id="11" name="Right Arrow 15">
            <a:extLst>
              <a:ext uri="{FF2B5EF4-FFF2-40B4-BE49-F238E27FC236}">
                <a16:creationId xmlns:a16="http://schemas.microsoft.com/office/drawing/2014/main" id="{89683976-B91D-A6BE-ABAC-E86A3B708853}"/>
              </a:ext>
            </a:extLst>
          </p:cNvPr>
          <p:cNvSpPr/>
          <p:nvPr/>
        </p:nvSpPr>
        <p:spPr bwMode="auto">
          <a:xfrm>
            <a:off x="360000" y="5509968"/>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ADB7CDD-5BEE-07FE-CDB2-4C9E307584CE}"/>
              </a:ext>
            </a:extLst>
          </p:cNvPr>
          <p:cNvSpPr txBox="1"/>
          <p:nvPr/>
        </p:nvSpPr>
        <p:spPr>
          <a:xfrm>
            <a:off x="8654853" y="1794926"/>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Tree>
    <p:extLst>
      <p:ext uri="{BB962C8B-B14F-4D97-AF65-F5344CB8AC3E}">
        <p14:creationId xmlns:p14="http://schemas.microsoft.com/office/powerpoint/2010/main" val="3695132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Arial Black"/>
              </a:rPr>
              <a:t> </a:t>
            </a:r>
            <a:r>
              <a:rPr kumimoji="0" lang="en-US" sz="2800" b="0" i="0" u="none" strike="noStrike" kern="1200" cap="none" spc="0" normalizeH="0" baseline="0" noProof="0" dirty="0">
                <a:ln>
                  <a:noFill/>
                </a:ln>
                <a:solidFill>
                  <a:prstClr val="black"/>
                </a:solidFill>
                <a:effectLst/>
                <a:uLnTx/>
                <a:uFillTx/>
                <a:latin typeface="Arial Black"/>
                <a:ea typeface="+mj-ea"/>
                <a:cs typeface="+mj-cs"/>
              </a:rPr>
              <a:t>Country level scores for the 11 </a:t>
            </a:r>
            <a:r>
              <a:rPr kumimoji="0" lang="en-US" sz="2800" b="0" i="0" u="none" strike="noStrike" kern="1200" cap="none" spc="0" normalizeH="0" baseline="0" noProof="0" dirty="0" err="1">
                <a:ln>
                  <a:noFill/>
                </a:ln>
                <a:solidFill>
                  <a:prstClr val="black"/>
                </a:solidFill>
                <a:effectLst/>
                <a:uLnTx/>
                <a:uFillTx/>
                <a:latin typeface="Arial Black"/>
                <a:ea typeface="+mj-ea"/>
                <a:cs typeface="+mj-cs"/>
              </a:rPr>
              <a:t>tHFA</a:t>
            </a:r>
            <a:r>
              <a:rPr kumimoji="0" lang="en-US" sz="2800" b="0" i="0" u="none" strike="noStrike" kern="1200" cap="none" spc="0" normalizeH="0" baseline="0" noProof="0" dirty="0">
                <a:ln>
                  <a:noFill/>
                </a:ln>
                <a:solidFill>
                  <a:prstClr val="black"/>
                </a:solidFill>
                <a:effectLst/>
                <a:uLnTx/>
                <a:uFillTx/>
                <a:latin typeface="Arial Black"/>
                <a:ea typeface="+mj-ea"/>
                <a:cs typeface="+mj-cs"/>
              </a:rPr>
              <a:t> indicators</a:t>
            </a:r>
          </a:p>
        </p:txBody>
      </p:sp>
      <p:grpSp>
        <p:nvGrpSpPr>
          <p:cNvPr id="5" name="Group 4">
            <a:extLst>
              <a:ext uri="{FF2B5EF4-FFF2-40B4-BE49-F238E27FC236}">
                <a16:creationId xmlns:a16="http://schemas.microsoft.com/office/drawing/2014/main" id="{F41D819F-7AA2-4098-8DF1-B9DB86620BE9}"/>
              </a:ext>
            </a:extLst>
          </p:cNvPr>
          <p:cNvGrpSpPr/>
          <p:nvPr/>
        </p:nvGrpSpPr>
        <p:grpSpPr>
          <a:xfrm>
            <a:off x="289604" y="971316"/>
            <a:ext cx="11298963" cy="1723846"/>
            <a:chOff x="698118" y="1025746"/>
            <a:chExt cx="11298963" cy="1723846"/>
          </a:xfrm>
        </p:grpSpPr>
        <p:sp>
          <p:nvSpPr>
            <p:cNvPr id="13" name="Rectangle 12">
              <a:extLst>
                <a:ext uri="{FF2B5EF4-FFF2-40B4-BE49-F238E27FC236}">
                  <a16:creationId xmlns:a16="http://schemas.microsoft.com/office/drawing/2014/main" id="{50B90408-B2C2-44FF-A8F9-724864263CED}"/>
                </a:ext>
              </a:extLst>
            </p:cNvPr>
            <p:cNvSpPr/>
            <p:nvPr/>
          </p:nvSpPr>
          <p:spPr>
            <a:xfrm>
              <a:off x="841566"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4" name="Chart 113">
              <a:extLst>
                <a:ext uri="{FF2B5EF4-FFF2-40B4-BE49-F238E27FC236}">
                  <a16:creationId xmlns:a16="http://schemas.microsoft.com/office/drawing/2014/main" id="{A8BB5688-8B57-44B2-A19E-90D8CD952C0E}"/>
                </a:ext>
              </a:extLst>
            </p:cNvPr>
            <p:cNvGraphicFramePr/>
            <p:nvPr/>
          </p:nvGraphicFramePr>
          <p:xfrm>
            <a:off x="698118" y="1259298"/>
            <a:ext cx="1676536" cy="1490294"/>
          </p:xfrm>
          <a:graphic>
            <a:graphicData uri="http://schemas.openxmlformats.org/drawingml/2006/chart">
              <c:chart xmlns:c="http://schemas.openxmlformats.org/drawingml/2006/chart" xmlns:r="http://schemas.openxmlformats.org/officeDocument/2006/relationships" r:id="rId5"/>
            </a:graphicData>
          </a:graphic>
        </p:graphicFrame>
        <p:cxnSp>
          <p:nvCxnSpPr>
            <p:cNvPr id="117" name="Straight Connector 116">
              <a:extLst>
                <a:ext uri="{FF2B5EF4-FFF2-40B4-BE49-F238E27FC236}">
                  <a16:creationId xmlns:a16="http://schemas.microsoft.com/office/drawing/2014/main" id="{349EA44A-D4A2-4E89-BCE4-2BF62FA98B1B}"/>
                </a:ext>
              </a:extLst>
            </p:cNvPr>
            <p:cNvCxnSpPr>
              <a:cxnSpLocks/>
            </p:cNvCxnSpPr>
            <p:nvPr/>
          </p:nvCxnSpPr>
          <p:spPr>
            <a:xfrm>
              <a:off x="891066"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3A40C022-A8DF-4039-A3AA-96127EED5525}"/>
                </a:ext>
              </a:extLst>
            </p:cNvPr>
            <p:cNvSpPr txBox="1"/>
            <p:nvPr/>
          </p:nvSpPr>
          <p:spPr>
            <a:xfrm>
              <a:off x="841566" y="1043415"/>
              <a:ext cx="2663633" cy="276999"/>
            </a:xfrm>
            <a:prstGeom prst="rect">
              <a:avLst/>
            </a:prstGeom>
            <a:noFill/>
          </p:spPr>
          <p:txBody>
            <a:bodyPr wrap="square" rtlCol="0">
              <a:spAutoFit/>
            </a:bodyPr>
            <a:lstStyle/>
            <a:p>
              <a:pPr algn="ctr">
                <a:spcBef>
                  <a:spcPts val="600"/>
                </a:spcBef>
                <a:spcAft>
                  <a:spcPts val="600"/>
                </a:spcAft>
              </a:pPr>
              <a:r>
                <a:rPr lang="en-GB" sz="1200" b="1" dirty="0"/>
                <a:t>High Quality Services</a:t>
              </a:r>
            </a:p>
          </p:txBody>
        </p:sp>
        <p:sp>
          <p:nvSpPr>
            <p:cNvPr id="120" name="TextBox 119">
              <a:extLst>
                <a:ext uri="{FF2B5EF4-FFF2-40B4-BE49-F238E27FC236}">
                  <a16:creationId xmlns:a16="http://schemas.microsoft.com/office/drawing/2014/main" id="{60C84091-2B2B-4E67-AFDF-1DE5E5D98C61}"/>
                </a:ext>
              </a:extLst>
            </p:cNvPr>
            <p:cNvSpPr txBox="1"/>
            <p:nvPr/>
          </p:nvSpPr>
          <p:spPr>
            <a:xfrm>
              <a:off x="1302386" y="1819779"/>
              <a:ext cx="468000" cy="369332"/>
            </a:xfrm>
            <a:prstGeom prst="rect">
              <a:avLst/>
            </a:prstGeom>
            <a:noFill/>
          </p:spPr>
          <p:txBody>
            <a:bodyPr wrap="square" rtlCol="0">
              <a:spAutoFit/>
            </a:bodyPr>
            <a:lstStyle/>
            <a:p>
              <a:pPr algn="ctr">
                <a:spcBef>
                  <a:spcPts val="600"/>
                </a:spcBef>
                <a:spcAft>
                  <a:spcPts val="600"/>
                </a:spcAft>
              </a:pPr>
              <a:r>
                <a:rPr lang="en-GB" b="1" dirty="0"/>
                <a:t>58</a:t>
              </a:r>
            </a:p>
          </p:txBody>
        </p:sp>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30D4A90C-6B9D-4354-A16C-BF38E672258B}"/>
                    </a:ext>
                  </a:extLst>
                </p:cNvPr>
                <p:cNvGraphicFramePr/>
                <p:nvPr/>
              </p:nvGraphicFramePr>
              <p:xfrm>
                <a:off x="2266513" y="1364751"/>
                <a:ext cx="1104380" cy="130310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8" name="Chart 7">
                  <a:extLst>
                    <a:ext uri="{FF2B5EF4-FFF2-40B4-BE49-F238E27FC236}">
                      <a16:creationId xmlns:a16="http://schemas.microsoft.com/office/drawing/2014/main" id="{30D4A90C-6B9D-4354-A16C-BF38E672258B}"/>
                    </a:ext>
                  </a:extLst>
                </p:cNvPr>
                <p:cNvPicPr>
                  <a:picLocks noGrp="1" noRot="1" noChangeAspect="1" noMove="1" noResize="1" noEditPoints="1" noAdjustHandles="1" noChangeArrowheads="1" noChangeShapeType="1"/>
                </p:cNvPicPr>
                <p:nvPr/>
              </p:nvPicPr>
              <p:blipFill>
                <a:blip r:embed="rId8"/>
                <a:stretch>
                  <a:fillRect/>
                </a:stretch>
              </p:blipFill>
              <p:spPr>
                <a:xfrm>
                  <a:off x="2268959" y="1310321"/>
                  <a:ext cx="1104380" cy="1303109"/>
                </a:xfrm>
                <a:prstGeom prst="rect">
                  <a:avLst/>
                </a:prstGeom>
              </p:spPr>
            </p:pic>
          </mc:Fallback>
        </mc:AlternateContent>
        <p:sp>
          <p:nvSpPr>
            <p:cNvPr id="80" name="Rectangle 79">
              <a:extLst>
                <a:ext uri="{FF2B5EF4-FFF2-40B4-BE49-F238E27FC236}">
                  <a16:creationId xmlns:a16="http://schemas.microsoft.com/office/drawing/2014/main" id="{21021FCC-3E23-41E2-A6E4-C3D876B099B8}"/>
                </a:ext>
              </a:extLst>
            </p:cNvPr>
            <p:cNvSpPr/>
            <p:nvPr/>
          </p:nvSpPr>
          <p:spPr>
            <a:xfrm>
              <a:off x="3672193"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1" name="Chart 80">
              <a:extLst>
                <a:ext uri="{FF2B5EF4-FFF2-40B4-BE49-F238E27FC236}">
                  <a16:creationId xmlns:a16="http://schemas.microsoft.com/office/drawing/2014/main" id="{0140762D-7446-445E-AE4C-5031674FFF9D}"/>
                </a:ext>
              </a:extLst>
            </p:cNvPr>
            <p:cNvGraphicFramePr/>
            <p:nvPr/>
          </p:nvGraphicFramePr>
          <p:xfrm>
            <a:off x="3528745" y="1259298"/>
            <a:ext cx="1676536" cy="1490294"/>
          </p:xfrm>
          <a:graphic>
            <a:graphicData uri="http://schemas.openxmlformats.org/drawingml/2006/chart">
              <c:chart xmlns:c="http://schemas.openxmlformats.org/drawingml/2006/chart" xmlns:r="http://schemas.openxmlformats.org/officeDocument/2006/relationships" r:id="rId9"/>
            </a:graphicData>
          </a:graphic>
        </p:graphicFrame>
        <p:cxnSp>
          <p:nvCxnSpPr>
            <p:cNvPr id="82" name="Straight Connector 81">
              <a:extLst>
                <a:ext uri="{FF2B5EF4-FFF2-40B4-BE49-F238E27FC236}">
                  <a16:creationId xmlns:a16="http://schemas.microsoft.com/office/drawing/2014/main" id="{AD4F5649-21A8-4AD7-AD8F-CBDAFB145E59}"/>
                </a:ext>
              </a:extLst>
            </p:cNvPr>
            <p:cNvCxnSpPr>
              <a:cxnSpLocks/>
            </p:cNvCxnSpPr>
            <p:nvPr/>
          </p:nvCxnSpPr>
          <p:spPr>
            <a:xfrm>
              <a:off x="3721693"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162C8BB-BDD4-43BC-9E06-4DA54DD26AB4}"/>
                </a:ext>
              </a:extLst>
            </p:cNvPr>
            <p:cNvSpPr txBox="1"/>
            <p:nvPr/>
          </p:nvSpPr>
          <p:spPr>
            <a:xfrm>
              <a:off x="3672193" y="1043415"/>
              <a:ext cx="2663633" cy="276999"/>
            </a:xfrm>
            <a:prstGeom prst="rect">
              <a:avLst/>
            </a:prstGeom>
            <a:noFill/>
          </p:spPr>
          <p:txBody>
            <a:bodyPr wrap="square" rtlCol="0">
              <a:spAutoFit/>
            </a:bodyPr>
            <a:lstStyle/>
            <a:p>
              <a:pPr algn="ctr">
                <a:spcBef>
                  <a:spcPts val="600"/>
                </a:spcBef>
                <a:spcAft>
                  <a:spcPts val="600"/>
                </a:spcAft>
              </a:pPr>
              <a:r>
                <a:rPr lang="en-GB" sz="1200" b="1" dirty="0"/>
                <a:t>Integrated Supp. Supervision</a:t>
              </a:r>
            </a:p>
          </p:txBody>
        </p:sp>
        <p:sp>
          <p:nvSpPr>
            <p:cNvPr id="85" name="TextBox 84">
              <a:extLst>
                <a:ext uri="{FF2B5EF4-FFF2-40B4-BE49-F238E27FC236}">
                  <a16:creationId xmlns:a16="http://schemas.microsoft.com/office/drawing/2014/main" id="{73B39E04-803B-442C-87CC-D2CAB2D0E8DB}"/>
                </a:ext>
              </a:extLst>
            </p:cNvPr>
            <p:cNvSpPr txBox="1"/>
            <p:nvPr/>
          </p:nvSpPr>
          <p:spPr>
            <a:xfrm>
              <a:off x="4133013" y="1819779"/>
              <a:ext cx="468000" cy="369332"/>
            </a:xfrm>
            <a:prstGeom prst="rect">
              <a:avLst/>
            </a:prstGeom>
            <a:noFill/>
          </p:spPr>
          <p:txBody>
            <a:bodyPr wrap="square" rtlCol="0">
              <a:spAutoFit/>
            </a:bodyPr>
            <a:lstStyle/>
            <a:p>
              <a:pPr algn="ctr">
                <a:spcBef>
                  <a:spcPts val="600"/>
                </a:spcBef>
                <a:spcAft>
                  <a:spcPts val="600"/>
                </a:spcAft>
              </a:pPr>
              <a:r>
                <a:rPr lang="en-GB" b="1" dirty="0"/>
                <a:t>87</a:t>
              </a:r>
            </a:p>
          </p:txBody>
        </p:sp>
        <mc:AlternateContent xmlns:mc="http://schemas.openxmlformats.org/markup-compatibility/2006" xmlns:cx1="http://schemas.microsoft.com/office/drawing/2015/9/8/chartex">
          <mc:Choice Requires="cx1">
            <p:graphicFrame>
              <p:nvGraphicFramePr>
                <p:cNvPr id="86" name="Chart 85">
                  <a:extLst>
                    <a:ext uri="{FF2B5EF4-FFF2-40B4-BE49-F238E27FC236}">
                      <a16:creationId xmlns:a16="http://schemas.microsoft.com/office/drawing/2014/main" id="{DB1F09F8-1E54-430B-8677-EE4B2132358D}"/>
                    </a:ext>
                  </a:extLst>
                </p:cNvPr>
                <p:cNvGraphicFramePr/>
                <p:nvPr/>
              </p:nvGraphicFramePr>
              <p:xfrm>
                <a:off x="5097140" y="1364751"/>
                <a:ext cx="1104380" cy="1303109"/>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86" name="Chart 85">
                  <a:extLst>
                    <a:ext uri="{FF2B5EF4-FFF2-40B4-BE49-F238E27FC236}">
                      <a16:creationId xmlns:a16="http://schemas.microsoft.com/office/drawing/2014/main" id="{DB1F09F8-1E54-430B-8677-EE4B2132358D}"/>
                    </a:ext>
                  </a:extLst>
                </p:cNvPr>
                <p:cNvPicPr>
                  <a:picLocks noGrp="1" noRot="1" noChangeAspect="1" noMove="1" noResize="1" noEditPoints="1" noAdjustHandles="1" noChangeArrowheads="1" noChangeShapeType="1"/>
                </p:cNvPicPr>
                <p:nvPr/>
              </p:nvPicPr>
              <p:blipFill>
                <a:blip r:embed="rId11"/>
                <a:stretch>
                  <a:fillRect/>
                </a:stretch>
              </p:blipFill>
              <p:spPr>
                <a:xfrm>
                  <a:off x="5099586" y="1310321"/>
                  <a:ext cx="1104380" cy="1303109"/>
                </a:xfrm>
                <a:prstGeom prst="rect">
                  <a:avLst/>
                </a:prstGeom>
              </p:spPr>
            </p:pic>
          </mc:Fallback>
        </mc:AlternateContent>
        <p:sp>
          <p:nvSpPr>
            <p:cNvPr id="87" name="Rectangle 86">
              <a:extLst>
                <a:ext uri="{FF2B5EF4-FFF2-40B4-BE49-F238E27FC236}">
                  <a16:creationId xmlns:a16="http://schemas.microsoft.com/office/drawing/2014/main" id="{68CE68F7-BCF9-4020-85E1-778063457841}"/>
                </a:ext>
              </a:extLst>
            </p:cNvPr>
            <p:cNvSpPr/>
            <p:nvPr/>
          </p:nvSpPr>
          <p:spPr>
            <a:xfrm>
              <a:off x="6502820"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8" name="Chart 87">
              <a:extLst>
                <a:ext uri="{FF2B5EF4-FFF2-40B4-BE49-F238E27FC236}">
                  <a16:creationId xmlns:a16="http://schemas.microsoft.com/office/drawing/2014/main" id="{0C61731F-BAF2-4D98-96A1-72CFC7CE1A02}"/>
                </a:ext>
              </a:extLst>
            </p:cNvPr>
            <p:cNvGraphicFramePr/>
            <p:nvPr/>
          </p:nvGraphicFramePr>
          <p:xfrm>
            <a:off x="6359372" y="1259298"/>
            <a:ext cx="1676536" cy="1490294"/>
          </p:xfrm>
          <a:graphic>
            <a:graphicData uri="http://schemas.openxmlformats.org/drawingml/2006/chart">
              <c:chart xmlns:c="http://schemas.openxmlformats.org/drawingml/2006/chart" xmlns:r="http://schemas.openxmlformats.org/officeDocument/2006/relationships" r:id="rId12"/>
            </a:graphicData>
          </a:graphic>
        </p:graphicFrame>
        <p:cxnSp>
          <p:nvCxnSpPr>
            <p:cNvPr id="89" name="Straight Connector 88">
              <a:extLst>
                <a:ext uri="{FF2B5EF4-FFF2-40B4-BE49-F238E27FC236}">
                  <a16:creationId xmlns:a16="http://schemas.microsoft.com/office/drawing/2014/main" id="{BC338CF9-4C18-47B8-B947-A0FC432D5252}"/>
                </a:ext>
              </a:extLst>
            </p:cNvPr>
            <p:cNvCxnSpPr>
              <a:cxnSpLocks/>
            </p:cNvCxnSpPr>
            <p:nvPr/>
          </p:nvCxnSpPr>
          <p:spPr>
            <a:xfrm>
              <a:off x="6552320"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D532B08-6EC0-4C2E-B52C-78E73133D8FB}"/>
                </a:ext>
              </a:extLst>
            </p:cNvPr>
            <p:cNvSpPr txBox="1"/>
            <p:nvPr/>
          </p:nvSpPr>
          <p:spPr>
            <a:xfrm>
              <a:off x="6502820" y="1043415"/>
              <a:ext cx="2663633" cy="276999"/>
            </a:xfrm>
            <a:prstGeom prst="rect">
              <a:avLst/>
            </a:prstGeom>
            <a:noFill/>
          </p:spPr>
          <p:txBody>
            <a:bodyPr wrap="square" rtlCol="0">
              <a:spAutoFit/>
            </a:bodyPr>
            <a:lstStyle/>
            <a:p>
              <a:pPr algn="ctr">
                <a:spcBef>
                  <a:spcPts val="600"/>
                </a:spcBef>
                <a:spcAft>
                  <a:spcPts val="600"/>
                </a:spcAft>
              </a:pPr>
              <a:r>
                <a:rPr lang="en-GB" sz="1200" b="1" dirty="0"/>
                <a:t>Integrated HTM for ANC patients</a:t>
              </a:r>
            </a:p>
          </p:txBody>
        </p:sp>
        <p:sp>
          <p:nvSpPr>
            <p:cNvPr id="91" name="TextBox 90">
              <a:extLst>
                <a:ext uri="{FF2B5EF4-FFF2-40B4-BE49-F238E27FC236}">
                  <a16:creationId xmlns:a16="http://schemas.microsoft.com/office/drawing/2014/main" id="{BF236913-CB0B-4804-85E5-AA87021868AB}"/>
                </a:ext>
              </a:extLst>
            </p:cNvPr>
            <p:cNvSpPr txBox="1"/>
            <p:nvPr/>
          </p:nvSpPr>
          <p:spPr>
            <a:xfrm>
              <a:off x="6963640" y="1819779"/>
              <a:ext cx="468000" cy="369332"/>
            </a:xfrm>
            <a:prstGeom prst="rect">
              <a:avLst/>
            </a:prstGeom>
            <a:noFill/>
          </p:spPr>
          <p:txBody>
            <a:bodyPr wrap="square" rtlCol="0">
              <a:spAutoFit/>
            </a:bodyPr>
            <a:lstStyle/>
            <a:p>
              <a:pPr algn="ctr">
                <a:spcBef>
                  <a:spcPts val="600"/>
                </a:spcBef>
                <a:spcAft>
                  <a:spcPts val="600"/>
                </a:spcAft>
              </a:pPr>
              <a:r>
                <a:rPr lang="en-GB" b="1" dirty="0"/>
                <a:t>63</a:t>
              </a:r>
            </a:p>
          </p:txBody>
        </p:sp>
        <mc:AlternateContent xmlns:mc="http://schemas.openxmlformats.org/markup-compatibility/2006" xmlns:cx1="http://schemas.microsoft.com/office/drawing/2015/9/8/chartex">
          <mc:Choice Requires="cx1">
            <p:graphicFrame>
              <p:nvGraphicFramePr>
                <p:cNvPr id="92" name="Chart 91">
                  <a:extLst>
                    <a:ext uri="{FF2B5EF4-FFF2-40B4-BE49-F238E27FC236}">
                      <a16:creationId xmlns:a16="http://schemas.microsoft.com/office/drawing/2014/main" id="{46B7B6BB-C091-4D5F-A5EB-9E7E4B8D3423}"/>
                    </a:ext>
                  </a:extLst>
                </p:cNvPr>
                <p:cNvGraphicFramePr/>
                <p:nvPr/>
              </p:nvGraphicFramePr>
              <p:xfrm>
                <a:off x="7927767" y="1364751"/>
                <a:ext cx="1104380" cy="1303109"/>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92" name="Chart 91">
                  <a:extLst>
                    <a:ext uri="{FF2B5EF4-FFF2-40B4-BE49-F238E27FC236}">
                      <a16:creationId xmlns:a16="http://schemas.microsoft.com/office/drawing/2014/main" id="{46B7B6BB-C091-4D5F-A5EB-9E7E4B8D3423}"/>
                    </a:ext>
                  </a:extLst>
                </p:cNvPr>
                <p:cNvPicPr>
                  <a:picLocks noGrp="1" noRot="1" noChangeAspect="1" noMove="1" noResize="1" noEditPoints="1" noAdjustHandles="1" noChangeArrowheads="1" noChangeShapeType="1"/>
                </p:cNvPicPr>
                <p:nvPr/>
              </p:nvPicPr>
              <p:blipFill>
                <a:blip r:embed="rId14"/>
                <a:stretch>
                  <a:fillRect/>
                </a:stretch>
              </p:blipFill>
              <p:spPr>
                <a:xfrm>
                  <a:off x="7930213" y="1310321"/>
                  <a:ext cx="1104380" cy="1303109"/>
                </a:xfrm>
                <a:prstGeom prst="rect">
                  <a:avLst/>
                </a:prstGeom>
              </p:spPr>
            </p:pic>
          </mc:Fallback>
        </mc:AlternateContent>
        <p:sp>
          <p:nvSpPr>
            <p:cNvPr id="93" name="Rectangle 92">
              <a:extLst>
                <a:ext uri="{FF2B5EF4-FFF2-40B4-BE49-F238E27FC236}">
                  <a16:creationId xmlns:a16="http://schemas.microsoft.com/office/drawing/2014/main" id="{3CBBB7AB-47FE-4A1B-A347-0720EBBC098C}"/>
                </a:ext>
              </a:extLst>
            </p:cNvPr>
            <p:cNvSpPr/>
            <p:nvPr/>
          </p:nvSpPr>
          <p:spPr>
            <a:xfrm>
              <a:off x="9333447" y="1025746"/>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5" name="Chart 94">
              <a:extLst>
                <a:ext uri="{FF2B5EF4-FFF2-40B4-BE49-F238E27FC236}">
                  <a16:creationId xmlns:a16="http://schemas.microsoft.com/office/drawing/2014/main" id="{2639E3A1-5984-41DE-B7FE-2419C3CA2EF0}"/>
                </a:ext>
              </a:extLst>
            </p:cNvPr>
            <p:cNvGraphicFramePr/>
            <p:nvPr/>
          </p:nvGraphicFramePr>
          <p:xfrm>
            <a:off x="9189999" y="1259298"/>
            <a:ext cx="1676536" cy="1490294"/>
          </p:xfrm>
          <a:graphic>
            <a:graphicData uri="http://schemas.openxmlformats.org/drawingml/2006/chart">
              <c:chart xmlns:c="http://schemas.openxmlformats.org/drawingml/2006/chart" xmlns:r="http://schemas.openxmlformats.org/officeDocument/2006/relationships" r:id="rId15"/>
            </a:graphicData>
          </a:graphic>
        </p:graphicFrame>
        <p:cxnSp>
          <p:nvCxnSpPr>
            <p:cNvPr id="96" name="Straight Connector 95">
              <a:extLst>
                <a:ext uri="{FF2B5EF4-FFF2-40B4-BE49-F238E27FC236}">
                  <a16:creationId xmlns:a16="http://schemas.microsoft.com/office/drawing/2014/main" id="{43C0973D-96F0-44C7-A823-8A6FCF114EF4}"/>
                </a:ext>
              </a:extLst>
            </p:cNvPr>
            <p:cNvCxnSpPr>
              <a:cxnSpLocks/>
            </p:cNvCxnSpPr>
            <p:nvPr/>
          </p:nvCxnSpPr>
          <p:spPr>
            <a:xfrm>
              <a:off x="9382947" y="1348112"/>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7C6E4EEC-BF4F-4A34-80A4-40C743F12D86}"/>
                </a:ext>
              </a:extLst>
            </p:cNvPr>
            <p:cNvSpPr txBox="1"/>
            <p:nvPr/>
          </p:nvSpPr>
          <p:spPr>
            <a:xfrm>
              <a:off x="9333447" y="1043415"/>
              <a:ext cx="2663633" cy="276999"/>
            </a:xfrm>
            <a:prstGeom prst="rect">
              <a:avLst/>
            </a:prstGeom>
            <a:noFill/>
          </p:spPr>
          <p:txBody>
            <a:bodyPr wrap="square" rtlCol="0">
              <a:spAutoFit/>
            </a:bodyPr>
            <a:lstStyle/>
            <a:p>
              <a:pPr algn="ctr">
                <a:spcBef>
                  <a:spcPts val="600"/>
                </a:spcBef>
                <a:spcAft>
                  <a:spcPts val="600"/>
                </a:spcAft>
              </a:pPr>
              <a:r>
                <a:rPr lang="en-GB" sz="1200" b="1" dirty="0"/>
                <a:t>System Readiness for CHWs</a:t>
              </a:r>
            </a:p>
          </p:txBody>
        </p:sp>
        <p:sp>
          <p:nvSpPr>
            <p:cNvPr id="98" name="TextBox 97">
              <a:extLst>
                <a:ext uri="{FF2B5EF4-FFF2-40B4-BE49-F238E27FC236}">
                  <a16:creationId xmlns:a16="http://schemas.microsoft.com/office/drawing/2014/main" id="{6B0496D4-1A69-463B-9F92-BC3821C9F309}"/>
                </a:ext>
              </a:extLst>
            </p:cNvPr>
            <p:cNvSpPr txBox="1"/>
            <p:nvPr/>
          </p:nvSpPr>
          <p:spPr>
            <a:xfrm>
              <a:off x="9794267" y="1819779"/>
              <a:ext cx="468000" cy="369332"/>
            </a:xfrm>
            <a:prstGeom prst="rect">
              <a:avLst/>
            </a:prstGeom>
            <a:noFill/>
          </p:spPr>
          <p:txBody>
            <a:bodyPr wrap="square" rtlCol="0">
              <a:spAutoFit/>
            </a:bodyPr>
            <a:lstStyle/>
            <a:p>
              <a:pPr algn="ctr">
                <a:spcBef>
                  <a:spcPts val="600"/>
                </a:spcBef>
                <a:spcAft>
                  <a:spcPts val="600"/>
                </a:spcAft>
              </a:pPr>
              <a:r>
                <a:rPr lang="en-GB" b="1" dirty="0"/>
                <a:t>60</a:t>
              </a:r>
            </a:p>
          </p:txBody>
        </p:sp>
        <mc:AlternateContent xmlns:mc="http://schemas.openxmlformats.org/markup-compatibility/2006" xmlns:cx1="http://schemas.microsoft.com/office/drawing/2015/9/8/chartex">
          <mc:Choice Requires="cx1">
            <p:graphicFrame>
              <p:nvGraphicFramePr>
                <p:cNvPr id="99" name="Chart 98">
                  <a:extLst>
                    <a:ext uri="{FF2B5EF4-FFF2-40B4-BE49-F238E27FC236}">
                      <a16:creationId xmlns:a16="http://schemas.microsoft.com/office/drawing/2014/main" id="{1DF95839-4C24-4A12-8F6E-B4269A768EE9}"/>
                    </a:ext>
                  </a:extLst>
                </p:cNvPr>
                <p:cNvGraphicFramePr/>
                <p:nvPr/>
              </p:nvGraphicFramePr>
              <p:xfrm>
                <a:off x="10758394" y="1364751"/>
                <a:ext cx="1104380" cy="1303109"/>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99" name="Chart 98">
                  <a:extLst>
                    <a:ext uri="{FF2B5EF4-FFF2-40B4-BE49-F238E27FC236}">
                      <a16:creationId xmlns:a16="http://schemas.microsoft.com/office/drawing/2014/main" id="{1DF95839-4C24-4A12-8F6E-B4269A768EE9}"/>
                    </a:ext>
                  </a:extLst>
                </p:cNvPr>
                <p:cNvPicPr>
                  <a:picLocks noGrp="1" noRot="1" noChangeAspect="1" noMove="1" noResize="1" noEditPoints="1" noAdjustHandles="1" noChangeArrowheads="1" noChangeShapeType="1"/>
                </p:cNvPicPr>
                <p:nvPr/>
              </p:nvPicPr>
              <p:blipFill>
                <a:blip r:embed="rId17"/>
                <a:stretch>
                  <a:fillRect/>
                </a:stretch>
              </p:blipFill>
              <p:spPr>
                <a:xfrm>
                  <a:off x="10760840" y="1310321"/>
                  <a:ext cx="1104380" cy="1303109"/>
                </a:xfrm>
                <a:prstGeom prst="rect">
                  <a:avLst/>
                </a:prstGeom>
              </p:spPr>
            </p:pic>
          </mc:Fallback>
        </mc:AlternateContent>
      </p:grpSp>
      <p:grpSp>
        <p:nvGrpSpPr>
          <p:cNvPr id="4" name="Group 3">
            <a:extLst>
              <a:ext uri="{FF2B5EF4-FFF2-40B4-BE49-F238E27FC236}">
                <a16:creationId xmlns:a16="http://schemas.microsoft.com/office/drawing/2014/main" id="{B7306060-40BF-4600-88CD-AA02AF32EF81}"/>
              </a:ext>
            </a:extLst>
          </p:cNvPr>
          <p:cNvGrpSpPr/>
          <p:nvPr/>
        </p:nvGrpSpPr>
        <p:grpSpPr>
          <a:xfrm>
            <a:off x="289604" y="2815157"/>
            <a:ext cx="11298963" cy="1723846"/>
            <a:chOff x="703010" y="3000867"/>
            <a:chExt cx="11298963" cy="1723846"/>
          </a:xfrm>
        </p:grpSpPr>
        <p:sp>
          <p:nvSpPr>
            <p:cNvPr id="100" name="Rectangle 99">
              <a:extLst>
                <a:ext uri="{FF2B5EF4-FFF2-40B4-BE49-F238E27FC236}">
                  <a16:creationId xmlns:a16="http://schemas.microsoft.com/office/drawing/2014/main" id="{03548322-74D0-4BDE-B5E9-C160CFAC5926}"/>
                </a:ext>
              </a:extLst>
            </p:cNvPr>
            <p:cNvSpPr/>
            <p:nvPr/>
          </p:nvSpPr>
          <p:spPr>
            <a:xfrm>
              <a:off x="846458"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1" name="Chart 100">
              <a:extLst>
                <a:ext uri="{FF2B5EF4-FFF2-40B4-BE49-F238E27FC236}">
                  <a16:creationId xmlns:a16="http://schemas.microsoft.com/office/drawing/2014/main" id="{7A29E2DD-8107-41F5-B81A-B4436038CF03}"/>
                </a:ext>
              </a:extLst>
            </p:cNvPr>
            <p:cNvGraphicFramePr/>
            <p:nvPr/>
          </p:nvGraphicFramePr>
          <p:xfrm>
            <a:off x="703010" y="3234419"/>
            <a:ext cx="1676536" cy="1490294"/>
          </p:xfrm>
          <a:graphic>
            <a:graphicData uri="http://schemas.openxmlformats.org/drawingml/2006/chart">
              <c:chart xmlns:c="http://schemas.openxmlformats.org/drawingml/2006/chart" xmlns:r="http://schemas.openxmlformats.org/officeDocument/2006/relationships" r:id="rId18"/>
            </a:graphicData>
          </a:graphic>
        </p:graphicFrame>
        <p:cxnSp>
          <p:nvCxnSpPr>
            <p:cNvPr id="102" name="Straight Connector 101">
              <a:extLst>
                <a:ext uri="{FF2B5EF4-FFF2-40B4-BE49-F238E27FC236}">
                  <a16:creationId xmlns:a16="http://schemas.microsoft.com/office/drawing/2014/main" id="{1A93B402-192D-491D-9586-FBC667119ADB}"/>
                </a:ext>
              </a:extLst>
            </p:cNvPr>
            <p:cNvCxnSpPr>
              <a:cxnSpLocks/>
            </p:cNvCxnSpPr>
            <p:nvPr/>
          </p:nvCxnSpPr>
          <p:spPr>
            <a:xfrm>
              <a:off x="895958"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1F12B92-1A40-4200-B4C1-4DB6F785D4BC}"/>
                </a:ext>
              </a:extLst>
            </p:cNvPr>
            <p:cNvSpPr txBox="1"/>
            <p:nvPr/>
          </p:nvSpPr>
          <p:spPr>
            <a:xfrm>
              <a:off x="846458" y="3018536"/>
              <a:ext cx="2663633" cy="276999"/>
            </a:xfrm>
            <a:prstGeom prst="rect">
              <a:avLst/>
            </a:prstGeom>
            <a:noFill/>
          </p:spPr>
          <p:txBody>
            <a:bodyPr wrap="square" rtlCol="0">
              <a:spAutoFit/>
            </a:bodyPr>
            <a:lstStyle/>
            <a:p>
              <a:pPr algn="ctr">
                <a:spcBef>
                  <a:spcPts val="600"/>
                </a:spcBef>
                <a:spcAft>
                  <a:spcPts val="600"/>
                </a:spcAft>
              </a:pPr>
              <a:r>
                <a:rPr lang="en-GB" sz="1200" b="1" dirty="0"/>
                <a:t>Facility Composite Score</a:t>
              </a:r>
            </a:p>
          </p:txBody>
        </p:sp>
        <p:sp>
          <p:nvSpPr>
            <p:cNvPr id="104" name="TextBox 103">
              <a:extLst>
                <a:ext uri="{FF2B5EF4-FFF2-40B4-BE49-F238E27FC236}">
                  <a16:creationId xmlns:a16="http://schemas.microsoft.com/office/drawing/2014/main" id="{2314C996-C6F1-433B-9BDD-90D1FC7D57AF}"/>
                </a:ext>
              </a:extLst>
            </p:cNvPr>
            <p:cNvSpPr txBox="1"/>
            <p:nvPr/>
          </p:nvSpPr>
          <p:spPr>
            <a:xfrm>
              <a:off x="1307278" y="3794900"/>
              <a:ext cx="468000" cy="369332"/>
            </a:xfrm>
            <a:prstGeom prst="rect">
              <a:avLst/>
            </a:prstGeom>
            <a:noFill/>
          </p:spPr>
          <p:txBody>
            <a:bodyPr wrap="square" rtlCol="0">
              <a:spAutoFit/>
            </a:bodyPr>
            <a:lstStyle/>
            <a:p>
              <a:pPr algn="ctr">
                <a:spcBef>
                  <a:spcPts val="600"/>
                </a:spcBef>
                <a:spcAft>
                  <a:spcPts val="600"/>
                </a:spcAft>
              </a:pPr>
              <a:r>
                <a:rPr lang="en-GB" b="1" dirty="0"/>
                <a:t>70</a:t>
              </a:r>
            </a:p>
          </p:txBody>
        </p:sp>
        <mc:AlternateContent xmlns:mc="http://schemas.openxmlformats.org/markup-compatibility/2006" xmlns:cx1="http://schemas.microsoft.com/office/drawing/2015/9/8/chartex">
          <mc:Choice Requires="cx1">
            <p:graphicFrame>
              <p:nvGraphicFramePr>
                <p:cNvPr id="105" name="Chart 104">
                  <a:extLst>
                    <a:ext uri="{FF2B5EF4-FFF2-40B4-BE49-F238E27FC236}">
                      <a16:creationId xmlns:a16="http://schemas.microsoft.com/office/drawing/2014/main" id="{5C67A7AF-986C-44C1-9DC4-429E2B1353A5}"/>
                    </a:ext>
                  </a:extLst>
                </p:cNvPr>
                <p:cNvGraphicFramePr/>
                <p:nvPr/>
              </p:nvGraphicFramePr>
              <p:xfrm>
                <a:off x="2271405" y="3339872"/>
                <a:ext cx="1104380" cy="1303109"/>
              </p:xfrm>
              <a:graphic>
                <a:graphicData uri="http://schemas.microsoft.com/office/drawing/2014/chartex">
                  <cx:chart xmlns:cx="http://schemas.microsoft.com/office/drawing/2014/chartex" xmlns:r="http://schemas.openxmlformats.org/officeDocument/2006/relationships" r:id="rId19"/>
                </a:graphicData>
              </a:graphic>
            </p:graphicFrame>
          </mc:Choice>
          <mc:Fallback xmlns="">
            <p:pic>
              <p:nvPicPr>
                <p:cNvPr id="105" name="Chart 104">
                  <a:extLst>
                    <a:ext uri="{FF2B5EF4-FFF2-40B4-BE49-F238E27FC236}">
                      <a16:creationId xmlns:a16="http://schemas.microsoft.com/office/drawing/2014/main" id="{5C67A7AF-986C-44C1-9DC4-429E2B1353A5}"/>
                    </a:ext>
                  </a:extLst>
                </p:cNvPr>
                <p:cNvPicPr>
                  <a:picLocks noGrp="1" noRot="1" noChangeAspect="1" noMove="1" noResize="1" noEditPoints="1" noAdjustHandles="1" noChangeArrowheads="1" noChangeShapeType="1"/>
                </p:cNvPicPr>
                <p:nvPr/>
              </p:nvPicPr>
              <p:blipFill>
                <a:blip r:embed="rId20"/>
                <a:stretch>
                  <a:fillRect/>
                </a:stretch>
              </p:blipFill>
              <p:spPr>
                <a:xfrm>
                  <a:off x="2268959" y="3271729"/>
                  <a:ext cx="1104380" cy="1303109"/>
                </a:xfrm>
                <a:prstGeom prst="rect">
                  <a:avLst/>
                </a:prstGeom>
              </p:spPr>
            </p:pic>
          </mc:Fallback>
        </mc:AlternateContent>
        <p:sp>
          <p:nvSpPr>
            <p:cNvPr id="106" name="Rectangle 105">
              <a:extLst>
                <a:ext uri="{FF2B5EF4-FFF2-40B4-BE49-F238E27FC236}">
                  <a16:creationId xmlns:a16="http://schemas.microsoft.com/office/drawing/2014/main" id="{CD184E5E-6E63-452E-8888-5B1CB6F8E567}"/>
                </a:ext>
              </a:extLst>
            </p:cNvPr>
            <p:cNvSpPr/>
            <p:nvPr/>
          </p:nvSpPr>
          <p:spPr>
            <a:xfrm>
              <a:off x="3677085"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7" name="Chart 106">
              <a:extLst>
                <a:ext uri="{FF2B5EF4-FFF2-40B4-BE49-F238E27FC236}">
                  <a16:creationId xmlns:a16="http://schemas.microsoft.com/office/drawing/2014/main" id="{FE32925A-E33D-43A0-AFD6-228858CCD8F5}"/>
                </a:ext>
              </a:extLst>
            </p:cNvPr>
            <p:cNvGraphicFramePr/>
            <p:nvPr/>
          </p:nvGraphicFramePr>
          <p:xfrm>
            <a:off x="3533637" y="3234419"/>
            <a:ext cx="1676536" cy="1490294"/>
          </p:xfrm>
          <a:graphic>
            <a:graphicData uri="http://schemas.openxmlformats.org/drawingml/2006/chart">
              <c:chart xmlns:c="http://schemas.openxmlformats.org/drawingml/2006/chart" xmlns:r="http://schemas.openxmlformats.org/officeDocument/2006/relationships" r:id="rId21"/>
            </a:graphicData>
          </a:graphic>
        </p:graphicFrame>
        <p:cxnSp>
          <p:nvCxnSpPr>
            <p:cNvPr id="108" name="Straight Connector 107">
              <a:extLst>
                <a:ext uri="{FF2B5EF4-FFF2-40B4-BE49-F238E27FC236}">
                  <a16:creationId xmlns:a16="http://schemas.microsoft.com/office/drawing/2014/main" id="{EC35A280-9C0E-4323-8B36-4ADD2C4C18AB}"/>
                </a:ext>
              </a:extLst>
            </p:cNvPr>
            <p:cNvCxnSpPr>
              <a:cxnSpLocks/>
            </p:cNvCxnSpPr>
            <p:nvPr/>
          </p:nvCxnSpPr>
          <p:spPr>
            <a:xfrm>
              <a:off x="3726585"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C0D970A4-8843-44CB-AD30-FAF4AFF6454F}"/>
                </a:ext>
              </a:extLst>
            </p:cNvPr>
            <p:cNvSpPr txBox="1"/>
            <p:nvPr/>
          </p:nvSpPr>
          <p:spPr>
            <a:xfrm>
              <a:off x="3677085" y="3018536"/>
              <a:ext cx="2663633" cy="276999"/>
            </a:xfrm>
            <a:prstGeom prst="rect">
              <a:avLst/>
            </a:prstGeom>
            <a:noFill/>
          </p:spPr>
          <p:txBody>
            <a:bodyPr wrap="square" rtlCol="0">
              <a:spAutoFit/>
            </a:bodyPr>
            <a:lstStyle/>
            <a:p>
              <a:pPr algn="ctr">
                <a:spcBef>
                  <a:spcPts val="600"/>
                </a:spcBef>
                <a:spcAft>
                  <a:spcPts val="600"/>
                </a:spcAft>
              </a:pPr>
              <a:r>
                <a:rPr lang="en-GB" sz="1200" b="1" dirty="0"/>
                <a:t>CHW paid on time and in full</a:t>
              </a:r>
            </a:p>
          </p:txBody>
        </p:sp>
        <p:sp>
          <p:nvSpPr>
            <p:cNvPr id="111" name="TextBox 110">
              <a:extLst>
                <a:ext uri="{FF2B5EF4-FFF2-40B4-BE49-F238E27FC236}">
                  <a16:creationId xmlns:a16="http://schemas.microsoft.com/office/drawing/2014/main" id="{642BF039-DE0F-4917-A3EF-D90BD72D3E64}"/>
                </a:ext>
              </a:extLst>
            </p:cNvPr>
            <p:cNvSpPr txBox="1"/>
            <p:nvPr/>
          </p:nvSpPr>
          <p:spPr>
            <a:xfrm>
              <a:off x="4137905" y="3794900"/>
              <a:ext cx="468000" cy="369332"/>
            </a:xfrm>
            <a:prstGeom prst="rect">
              <a:avLst/>
            </a:prstGeom>
            <a:noFill/>
          </p:spPr>
          <p:txBody>
            <a:bodyPr wrap="square" rtlCol="0">
              <a:spAutoFit/>
            </a:bodyPr>
            <a:lstStyle/>
            <a:p>
              <a:pPr algn="ctr">
                <a:spcBef>
                  <a:spcPts val="600"/>
                </a:spcBef>
                <a:spcAft>
                  <a:spcPts val="600"/>
                </a:spcAft>
              </a:pPr>
              <a:r>
                <a:rPr lang="en-GB" b="1" dirty="0"/>
                <a:t>57</a:t>
              </a:r>
            </a:p>
          </p:txBody>
        </p:sp>
        <mc:AlternateContent xmlns:mc="http://schemas.openxmlformats.org/markup-compatibility/2006" xmlns:cx1="http://schemas.microsoft.com/office/drawing/2015/9/8/chartex">
          <mc:Choice Requires="cx1">
            <p:graphicFrame>
              <p:nvGraphicFramePr>
                <p:cNvPr id="112" name="Chart 111">
                  <a:extLst>
                    <a:ext uri="{FF2B5EF4-FFF2-40B4-BE49-F238E27FC236}">
                      <a16:creationId xmlns:a16="http://schemas.microsoft.com/office/drawing/2014/main" id="{5CE9C20E-31A9-46B6-9103-AF9894654387}"/>
                    </a:ext>
                  </a:extLst>
                </p:cNvPr>
                <p:cNvGraphicFramePr/>
                <p:nvPr/>
              </p:nvGraphicFramePr>
              <p:xfrm>
                <a:off x="5102032" y="3339872"/>
                <a:ext cx="1104380" cy="1303109"/>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112" name="Chart 111">
                  <a:extLst>
                    <a:ext uri="{FF2B5EF4-FFF2-40B4-BE49-F238E27FC236}">
                      <a16:creationId xmlns:a16="http://schemas.microsoft.com/office/drawing/2014/main" id="{5CE9C20E-31A9-46B6-9103-AF9894654387}"/>
                    </a:ext>
                  </a:extLst>
                </p:cNvPr>
                <p:cNvPicPr>
                  <a:picLocks noGrp="1" noRot="1" noChangeAspect="1" noMove="1" noResize="1" noEditPoints="1" noAdjustHandles="1" noChangeArrowheads="1" noChangeShapeType="1"/>
                </p:cNvPicPr>
                <p:nvPr/>
              </p:nvPicPr>
              <p:blipFill>
                <a:blip r:embed="rId23"/>
                <a:stretch>
                  <a:fillRect/>
                </a:stretch>
              </p:blipFill>
              <p:spPr>
                <a:xfrm>
                  <a:off x="5099586" y="3271729"/>
                  <a:ext cx="1104380" cy="1303109"/>
                </a:xfrm>
                <a:prstGeom prst="rect">
                  <a:avLst/>
                </a:prstGeom>
              </p:spPr>
            </p:pic>
          </mc:Fallback>
        </mc:AlternateContent>
        <p:sp>
          <p:nvSpPr>
            <p:cNvPr id="113" name="Rectangle 112">
              <a:extLst>
                <a:ext uri="{FF2B5EF4-FFF2-40B4-BE49-F238E27FC236}">
                  <a16:creationId xmlns:a16="http://schemas.microsoft.com/office/drawing/2014/main" id="{7F2FD1C2-A455-4ADE-9D9E-3AFEBFB52265}"/>
                </a:ext>
              </a:extLst>
            </p:cNvPr>
            <p:cNvSpPr/>
            <p:nvPr/>
          </p:nvSpPr>
          <p:spPr>
            <a:xfrm>
              <a:off x="6507712"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5" name="Chart 114">
              <a:extLst>
                <a:ext uri="{FF2B5EF4-FFF2-40B4-BE49-F238E27FC236}">
                  <a16:creationId xmlns:a16="http://schemas.microsoft.com/office/drawing/2014/main" id="{5D058A10-C084-40E6-B4F5-7EBF4816DCDD}"/>
                </a:ext>
              </a:extLst>
            </p:cNvPr>
            <p:cNvGraphicFramePr/>
            <p:nvPr/>
          </p:nvGraphicFramePr>
          <p:xfrm>
            <a:off x="6364264" y="3234419"/>
            <a:ext cx="1676536" cy="1490294"/>
          </p:xfrm>
          <a:graphic>
            <a:graphicData uri="http://schemas.openxmlformats.org/drawingml/2006/chart">
              <c:chart xmlns:c="http://schemas.openxmlformats.org/drawingml/2006/chart" xmlns:r="http://schemas.openxmlformats.org/officeDocument/2006/relationships" r:id="rId24"/>
            </a:graphicData>
          </a:graphic>
        </p:graphicFrame>
        <p:cxnSp>
          <p:nvCxnSpPr>
            <p:cNvPr id="116" name="Straight Connector 115">
              <a:extLst>
                <a:ext uri="{FF2B5EF4-FFF2-40B4-BE49-F238E27FC236}">
                  <a16:creationId xmlns:a16="http://schemas.microsoft.com/office/drawing/2014/main" id="{A994D0DD-AA2B-4291-BDB7-2AA20001A97A}"/>
                </a:ext>
              </a:extLst>
            </p:cNvPr>
            <p:cNvCxnSpPr>
              <a:cxnSpLocks/>
            </p:cNvCxnSpPr>
            <p:nvPr/>
          </p:nvCxnSpPr>
          <p:spPr>
            <a:xfrm>
              <a:off x="6557212"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4C63DAB6-9A76-4AD0-93AC-DDD913B26AB9}"/>
                </a:ext>
              </a:extLst>
            </p:cNvPr>
            <p:cNvSpPr txBox="1"/>
            <p:nvPr/>
          </p:nvSpPr>
          <p:spPr>
            <a:xfrm>
              <a:off x="6507712" y="3018536"/>
              <a:ext cx="2663633" cy="276999"/>
            </a:xfrm>
            <a:prstGeom prst="rect">
              <a:avLst/>
            </a:prstGeom>
            <a:noFill/>
          </p:spPr>
          <p:txBody>
            <a:bodyPr wrap="square" rtlCol="0">
              <a:spAutoFit/>
            </a:bodyPr>
            <a:lstStyle/>
            <a:p>
              <a:pPr algn="ctr">
                <a:spcBef>
                  <a:spcPts val="600"/>
                </a:spcBef>
                <a:spcAft>
                  <a:spcPts val="600"/>
                </a:spcAft>
              </a:pPr>
              <a:r>
                <a:rPr lang="en-GB" sz="1200" b="1" dirty="0"/>
                <a:t>Community Led Monitoring </a:t>
              </a:r>
            </a:p>
          </p:txBody>
        </p:sp>
        <p:sp>
          <p:nvSpPr>
            <p:cNvPr id="136" name="TextBox 135">
              <a:extLst>
                <a:ext uri="{FF2B5EF4-FFF2-40B4-BE49-F238E27FC236}">
                  <a16:creationId xmlns:a16="http://schemas.microsoft.com/office/drawing/2014/main" id="{02E28D34-761B-4B56-94E0-7B51B3F28325}"/>
                </a:ext>
              </a:extLst>
            </p:cNvPr>
            <p:cNvSpPr txBox="1"/>
            <p:nvPr/>
          </p:nvSpPr>
          <p:spPr>
            <a:xfrm>
              <a:off x="6968532" y="3794900"/>
              <a:ext cx="468000" cy="369332"/>
            </a:xfrm>
            <a:prstGeom prst="rect">
              <a:avLst/>
            </a:prstGeom>
            <a:noFill/>
          </p:spPr>
          <p:txBody>
            <a:bodyPr wrap="square" rtlCol="0">
              <a:spAutoFit/>
            </a:bodyPr>
            <a:lstStyle/>
            <a:p>
              <a:pPr algn="ctr">
                <a:spcBef>
                  <a:spcPts val="600"/>
                </a:spcBef>
                <a:spcAft>
                  <a:spcPts val="600"/>
                </a:spcAft>
              </a:pPr>
              <a:r>
                <a:rPr lang="en-GB" b="1" dirty="0"/>
                <a:t>79</a:t>
              </a:r>
            </a:p>
          </p:txBody>
        </p:sp>
        <mc:AlternateContent xmlns:mc="http://schemas.openxmlformats.org/markup-compatibility/2006" xmlns:cx1="http://schemas.microsoft.com/office/drawing/2015/9/8/chartex">
          <mc:Choice Requires="cx1">
            <p:graphicFrame>
              <p:nvGraphicFramePr>
                <p:cNvPr id="137" name="Chart 136">
                  <a:extLst>
                    <a:ext uri="{FF2B5EF4-FFF2-40B4-BE49-F238E27FC236}">
                      <a16:creationId xmlns:a16="http://schemas.microsoft.com/office/drawing/2014/main" id="{5B122856-D5F3-4532-B804-251BD2A17A78}"/>
                    </a:ext>
                  </a:extLst>
                </p:cNvPr>
                <p:cNvGraphicFramePr/>
                <p:nvPr/>
              </p:nvGraphicFramePr>
              <p:xfrm>
                <a:off x="7932659" y="3339872"/>
                <a:ext cx="1104380" cy="1303109"/>
              </p:xfrm>
              <a:graphic>
                <a:graphicData uri="http://schemas.microsoft.com/office/drawing/2014/chartex">
                  <cx:chart xmlns:cx="http://schemas.microsoft.com/office/drawing/2014/chartex" xmlns:r="http://schemas.openxmlformats.org/officeDocument/2006/relationships" r:id="rId25"/>
                </a:graphicData>
              </a:graphic>
            </p:graphicFrame>
          </mc:Choice>
          <mc:Fallback xmlns="">
            <p:pic>
              <p:nvPicPr>
                <p:cNvPr id="137" name="Chart 136">
                  <a:extLst>
                    <a:ext uri="{FF2B5EF4-FFF2-40B4-BE49-F238E27FC236}">
                      <a16:creationId xmlns:a16="http://schemas.microsoft.com/office/drawing/2014/main" id="{5B122856-D5F3-4532-B804-251BD2A17A78}"/>
                    </a:ext>
                  </a:extLst>
                </p:cNvPr>
                <p:cNvPicPr>
                  <a:picLocks noGrp="1" noRot="1" noChangeAspect="1" noMove="1" noResize="1" noEditPoints="1" noAdjustHandles="1" noChangeArrowheads="1" noChangeShapeType="1"/>
                </p:cNvPicPr>
                <p:nvPr/>
              </p:nvPicPr>
              <p:blipFill>
                <a:blip r:embed="rId26"/>
                <a:stretch>
                  <a:fillRect/>
                </a:stretch>
              </p:blipFill>
              <p:spPr>
                <a:xfrm>
                  <a:off x="7930213" y="3271729"/>
                  <a:ext cx="1104380" cy="1303109"/>
                </a:xfrm>
                <a:prstGeom prst="rect">
                  <a:avLst/>
                </a:prstGeom>
              </p:spPr>
            </p:pic>
          </mc:Fallback>
        </mc:AlternateContent>
        <p:sp>
          <p:nvSpPr>
            <p:cNvPr id="138" name="Rectangle 137">
              <a:extLst>
                <a:ext uri="{FF2B5EF4-FFF2-40B4-BE49-F238E27FC236}">
                  <a16:creationId xmlns:a16="http://schemas.microsoft.com/office/drawing/2014/main" id="{9DCB145B-EC79-41FC-AB2A-A87E2C255AFF}"/>
                </a:ext>
              </a:extLst>
            </p:cNvPr>
            <p:cNvSpPr/>
            <p:nvPr/>
          </p:nvSpPr>
          <p:spPr>
            <a:xfrm>
              <a:off x="9338339" y="3000867"/>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9" name="Chart 138">
              <a:extLst>
                <a:ext uri="{FF2B5EF4-FFF2-40B4-BE49-F238E27FC236}">
                  <a16:creationId xmlns:a16="http://schemas.microsoft.com/office/drawing/2014/main" id="{99161D2F-5C2F-4D66-ADC7-366906F69ED0}"/>
                </a:ext>
              </a:extLst>
            </p:cNvPr>
            <p:cNvGraphicFramePr/>
            <p:nvPr>
              <p:extLst>
                <p:ext uri="{D42A27DB-BD31-4B8C-83A1-F6EECF244321}">
                  <p14:modId xmlns:p14="http://schemas.microsoft.com/office/powerpoint/2010/main" val="284861362"/>
                </p:ext>
              </p:extLst>
            </p:nvPr>
          </p:nvGraphicFramePr>
          <p:xfrm>
            <a:off x="9194891" y="3234419"/>
            <a:ext cx="1676536" cy="1490294"/>
          </p:xfrm>
          <a:graphic>
            <a:graphicData uri="http://schemas.openxmlformats.org/drawingml/2006/chart">
              <c:chart xmlns:c="http://schemas.openxmlformats.org/drawingml/2006/chart" xmlns:r="http://schemas.openxmlformats.org/officeDocument/2006/relationships" r:id="rId27"/>
            </a:graphicData>
          </a:graphic>
        </p:graphicFrame>
        <p:cxnSp>
          <p:nvCxnSpPr>
            <p:cNvPr id="140" name="Straight Connector 139">
              <a:extLst>
                <a:ext uri="{FF2B5EF4-FFF2-40B4-BE49-F238E27FC236}">
                  <a16:creationId xmlns:a16="http://schemas.microsoft.com/office/drawing/2014/main" id="{DCC0946A-1576-4A0F-B0CA-F3A98B120E0F}"/>
                </a:ext>
              </a:extLst>
            </p:cNvPr>
            <p:cNvCxnSpPr>
              <a:cxnSpLocks/>
            </p:cNvCxnSpPr>
            <p:nvPr/>
          </p:nvCxnSpPr>
          <p:spPr>
            <a:xfrm>
              <a:off x="9387839" y="3323233"/>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5D27822D-B3A0-416D-93B3-85E54C1E71B8}"/>
                </a:ext>
              </a:extLst>
            </p:cNvPr>
            <p:cNvSpPr txBox="1"/>
            <p:nvPr/>
          </p:nvSpPr>
          <p:spPr>
            <a:xfrm>
              <a:off x="9338339" y="3018536"/>
              <a:ext cx="2663633" cy="276999"/>
            </a:xfrm>
            <a:prstGeom prst="rect">
              <a:avLst/>
            </a:prstGeom>
            <a:noFill/>
          </p:spPr>
          <p:txBody>
            <a:bodyPr wrap="square" rtlCol="0">
              <a:spAutoFit/>
            </a:bodyPr>
            <a:lstStyle/>
            <a:p>
              <a:pPr algn="ctr">
                <a:spcBef>
                  <a:spcPts val="600"/>
                </a:spcBef>
                <a:spcAft>
                  <a:spcPts val="600"/>
                </a:spcAft>
              </a:pPr>
              <a:r>
                <a:rPr lang="en-GB" sz="1200" b="1" dirty="0"/>
                <a:t>Availability of Guidelines</a:t>
              </a:r>
            </a:p>
          </p:txBody>
        </p:sp>
        <p:sp>
          <p:nvSpPr>
            <p:cNvPr id="142" name="TextBox 141">
              <a:extLst>
                <a:ext uri="{FF2B5EF4-FFF2-40B4-BE49-F238E27FC236}">
                  <a16:creationId xmlns:a16="http://schemas.microsoft.com/office/drawing/2014/main" id="{6A6F09AD-794F-4B0D-85B9-EFC22F4A97FB}"/>
                </a:ext>
              </a:extLst>
            </p:cNvPr>
            <p:cNvSpPr txBox="1"/>
            <p:nvPr/>
          </p:nvSpPr>
          <p:spPr>
            <a:xfrm>
              <a:off x="9706563" y="3794900"/>
              <a:ext cx="653193" cy="369332"/>
            </a:xfrm>
            <a:prstGeom prst="rect">
              <a:avLst/>
            </a:prstGeom>
            <a:noFill/>
          </p:spPr>
          <p:txBody>
            <a:bodyPr wrap="square" rtlCol="0">
              <a:spAutoFit/>
            </a:bodyPr>
            <a:lstStyle/>
            <a:p>
              <a:pPr algn="ctr">
                <a:spcBef>
                  <a:spcPts val="600"/>
                </a:spcBef>
                <a:spcAft>
                  <a:spcPts val="600"/>
                </a:spcAft>
              </a:pPr>
              <a:r>
                <a:rPr lang="en-GB" b="1" dirty="0"/>
                <a:t>88</a:t>
              </a:r>
            </a:p>
          </p:txBody>
        </p:sp>
        <mc:AlternateContent xmlns:mc="http://schemas.openxmlformats.org/markup-compatibility/2006" xmlns:cx1="http://schemas.microsoft.com/office/drawing/2015/9/8/chartex">
          <mc:Choice Requires="cx1">
            <p:graphicFrame>
              <p:nvGraphicFramePr>
                <p:cNvPr id="143" name="Chart 142">
                  <a:extLst>
                    <a:ext uri="{FF2B5EF4-FFF2-40B4-BE49-F238E27FC236}">
                      <a16:creationId xmlns:a16="http://schemas.microsoft.com/office/drawing/2014/main" id="{F54FF53A-6A72-4E2B-A19A-12D37A601C5E}"/>
                    </a:ext>
                  </a:extLst>
                </p:cNvPr>
                <p:cNvGraphicFramePr/>
                <p:nvPr>
                  <p:extLst>
                    <p:ext uri="{D42A27DB-BD31-4B8C-83A1-F6EECF244321}">
                      <p14:modId xmlns:p14="http://schemas.microsoft.com/office/powerpoint/2010/main" val="824579417"/>
                    </p:ext>
                  </p:extLst>
                </p:nvPr>
              </p:nvGraphicFramePr>
              <p:xfrm>
                <a:off x="10763286" y="3339872"/>
                <a:ext cx="1104380" cy="1303109"/>
              </p:xfrm>
              <a:graphic>
                <a:graphicData uri="http://schemas.microsoft.com/office/drawing/2014/chartex">
                  <cx:chart xmlns:cx="http://schemas.microsoft.com/office/drawing/2014/chartex" xmlns:r="http://schemas.openxmlformats.org/officeDocument/2006/relationships" r:id="rId28"/>
                </a:graphicData>
              </a:graphic>
            </p:graphicFrame>
          </mc:Choice>
          <mc:Fallback xmlns="">
            <p:pic>
              <p:nvPicPr>
                <p:cNvPr id="143" name="Chart 142">
                  <a:extLst>
                    <a:ext uri="{FF2B5EF4-FFF2-40B4-BE49-F238E27FC236}">
                      <a16:creationId xmlns:a16="http://schemas.microsoft.com/office/drawing/2014/main" id="{F54FF53A-6A72-4E2B-A19A-12D37A601C5E}"/>
                    </a:ext>
                  </a:extLst>
                </p:cNvPr>
                <p:cNvPicPr>
                  <a:picLocks noGrp="1" noRot="1" noChangeAspect="1" noMove="1" noResize="1" noEditPoints="1" noAdjustHandles="1" noChangeArrowheads="1" noChangeShapeType="1"/>
                </p:cNvPicPr>
                <p:nvPr/>
              </p:nvPicPr>
              <p:blipFill>
                <a:blip r:embed="rId29"/>
                <a:stretch>
                  <a:fillRect/>
                </a:stretch>
              </p:blipFill>
              <p:spPr>
                <a:xfrm>
                  <a:off x="10349880" y="3154162"/>
                  <a:ext cx="1104380" cy="1303109"/>
                </a:xfrm>
                <a:prstGeom prst="rect">
                  <a:avLst/>
                </a:prstGeom>
              </p:spPr>
            </p:pic>
          </mc:Fallback>
        </mc:AlternateContent>
      </p:grpSp>
      <p:sp>
        <p:nvSpPr>
          <p:cNvPr id="144" name="Rectangle 143">
            <a:extLst>
              <a:ext uri="{FF2B5EF4-FFF2-40B4-BE49-F238E27FC236}">
                <a16:creationId xmlns:a16="http://schemas.microsoft.com/office/drawing/2014/main" id="{5CE22FDE-5544-4C6A-9DAD-B437ADAF861F}"/>
              </a:ext>
            </a:extLst>
          </p:cNvPr>
          <p:cNvSpPr/>
          <p:nvPr/>
        </p:nvSpPr>
        <p:spPr>
          <a:xfrm>
            <a:off x="433052" y="4658999"/>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45" name="Chart 144">
            <a:extLst>
              <a:ext uri="{FF2B5EF4-FFF2-40B4-BE49-F238E27FC236}">
                <a16:creationId xmlns:a16="http://schemas.microsoft.com/office/drawing/2014/main" id="{10699E75-899E-4D34-B45C-78B412C0DE46}"/>
              </a:ext>
            </a:extLst>
          </p:cNvPr>
          <p:cNvGraphicFramePr/>
          <p:nvPr>
            <p:extLst>
              <p:ext uri="{D42A27DB-BD31-4B8C-83A1-F6EECF244321}">
                <p14:modId xmlns:p14="http://schemas.microsoft.com/office/powerpoint/2010/main" val="1480512410"/>
              </p:ext>
            </p:extLst>
          </p:nvPr>
        </p:nvGraphicFramePr>
        <p:xfrm>
          <a:off x="289604" y="4892551"/>
          <a:ext cx="1676536" cy="1490294"/>
        </p:xfrm>
        <a:graphic>
          <a:graphicData uri="http://schemas.openxmlformats.org/drawingml/2006/chart">
            <c:chart xmlns:c="http://schemas.openxmlformats.org/drawingml/2006/chart" xmlns:r="http://schemas.openxmlformats.org/officeDocument/2006/relationships" r:id="rId30"/>
          </a:graphicData>
        </a:graphic>
      </p:graphicFrame>
      <p:cxnSp>
        <p:nvCxnSpPr>
          <p:cNvPr id="146" name="Straight Connector 145">
            <a:extLst>
              <a:ext uri="{FF2B5EF4-FFF2-40B4-BE49-F238E27FC236}">
                <a16:creationId xmlns:a16="http://schemas.microsoft.com/office/drawing/2014/main" id="{8F2895D2-5F3F-4C9E-909D-8C918F4687AF}"/>
              </a:ext>
            </a:extLst>
          </p:cNvPr>
          <p:cNvCxnSpPr>
            <a:cxnSpLocks/>
          </p:cNvCxnSpPr>
          <p:nvPr/>
        </p:nvCxnSpPr>
        <p:spPr>
          <a:xfrm>
            <a:off x="482552" y="4981365"/>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971C9063-0933-4004-877F-8E2587C2AE5F}"/>
              </a:ext>
            </a:extLst>
          </p:cNvPr>
          <p:cNvSpPr txBox="1"/>
          <p:nvPr/>
        </p:nvSpPr>
        <p:spPr>
          <a:xfrm>
            <a:off x="433052" y="4676668"/>
            <a:ext cx="2663633" cy="276999"/>
          </a:xfrm>
          <a:prstGeom prst="rect">
            <a:avLst/>
          </a:prstGeom>
          <a:noFill/>
        </p:spPr>
        <p:txBody>
          <a:bodyPr wrap="square" rtlCol="0">
            <a:spAutoFit/>
          </a:bodyPr>
          <a:lstStyle/>
          <a:p>
            <a:pPr algn="ctr">
              <a:spcBef>
                <a:spcPts val="600"/>
              </a:spcBef>
              <a:spcAft>
                <a:spcPts val="600"/>
              </a:spcAft>
            </a:pPr>
            <a:r>
              <a:rPr lang="en-GB" sz="1200" b="1" dirty="0"/>
              <a:t>Oxygen Therapy</a:t>
            </a:r>
          </a:p>
        </p:txBody>
      </p:sp>
      <p:sp>
        <p:nvSpPr>
          <p:cNvPr id="148" name="TextBox 147">
            <a:extLst>
              <a:ext uri="{FF2B5EF4-FFF2-40B4-BE49-F238E27FC236}">
                <a16:creationId xmlns:a16="http://schemas.microsoft.com/office/drawing/2014/main" id="{35184935-7122-4C1A-8FB4-7719F545CFBB}"/>
              </a:ext>
            </a:extLst>
          </p:cNvPr>
          <p:cNvSpPr txBox="1"/>
          <p:nvPr/>
        </p:nvSpPr>
        <p:spPr>
          <a:xfrm>
            <a:off x="893872" y="5453032"/>
            <a:ext cx="468000" cy="369332"/>
          </a:xfrm>
          <a:prstGeom prst="rect">
            <a:avLst/>
          </a:prstGeom>
          <a:noFill/>
        </p:spPr>
        <p:txBody>
          <a:bodyPr wrap="square" rtlCol="0">
            <a:spAutoFit/>
          </a:bodyPr>
          <a:lstStyle/>
          <a:p>
            <a:pPr algn="ctr">
              <a:spcBef>
                <a:spcPts val="600"/>
              </a:spcBef>
              <a:spcAft>
                <a:spcPts val="600"/>
              </a:spcAft>
            </a:pPr>
            <a:r>
              <a:rPr lang="en-GB" b="1" dirty="0"/>
              <a:t>64</a:t>
            </a:r>
          </a:p>
        </p:txBody>
      </p:sp>
      <mc:AlternateContent xmlns:mc="http://schemas.openxmlformats.org/markup-compatibility/2006" xmlns:cx1="http://schemas.microsoft.com/office/drawing/2015/9/8/chartex">
        <mc:Choice Requires="cx1">
          <p:graphicFrame>
            <p:nvGraphicFramePr>
              <p:cNvPr id="149" name="Chart 148">
                <a:extLst>
                  <a:ext uri="{FF2B5EF4-FFF2-40B4-BE49-F238E27FC236}">
                    <a16:creationId xmlns:a16="http://schemas.microsoft.com/office/drawing/2014/main" id="{9485D3F6-2DBA-4DFE-B4A9-CE624AD20733}"/>
                  </a:ext>
                </a:extLst>
              </p:cNvPr>
              <p:cNvGraphicFramePr/>
              <p:nvPr>
                <p:extLst>
                  <p:ext uri="{D42A27DB-BD31-4B8C-83A1-F6EECF244321}">
                    <p14:modId xmlns:p14="http://schemas.microsoft.com/office/powerpoint/2010/main" val="2354598706"/>
                  </p:ext>
                </p:extLst>
              </p:nvPr>
            </p:nvGraphicFramePr>
            <p:xfrm>
              <a:off x="1857999" y="4998004"/>
              <a:ext cx="1104380" cy="1303109"/>
            </p:xfrm>
            <a:graphic>
              <a:graphicData uri="http://schemas.microsoft.com/office/drawing/2014/chartex">
                <cx:chart xmlns:cx="http://schemas.microsoft.com/office/drawing/2014/chartex" xmlns:r="http://schemas.openxmlformats.org/officeDocument/2006/relationships" r:id="rId31"/>
              </a:graphicData>
            </a:graphic>
          </p:graphicFrame>
        </mc:Choice>
        <mc:Fallback xmlns="">
          <p:pic>
            <p:nvPicPr>
              <p:cNvPr id="149" name="Chart 148">
                <a:extLst>
                  <a:ext uri="{FF2B5EF4-FFF2-40B4-BE49-F238E27FC236}">
                    <a16:creationId xmlns:a16="http://schemas.microsoft.com/office/drawing/2014/main" id="{9485D3F6-2DBA-4DFE-B4A9-CE624AD20733}"/>
                  </a:ext>
                </a:extLst>
              </p:cNvPr>
              <p:cNvPicPr>
                <a:picLocks noGrp="1" noRot="1" noChangeAspect="1" noMove="1" noResize="1" noEditPoints="1" noAdjustHandles="1" noChangeArrowheads="1" noChangeShapeType="1"/>
              </p:cNvPicPr>
              <p:nvPr/>
            </p:nvPicPr>
            <p:blipFill>
              <a:blip r:embed="rId32"/>
              <a:stretch>
                <a:fillRect/>
              </a:stretch>
            </p:blipFill>
            <p:spPr>
              <a:xfrm>
                <a:off x="1857999" y="4998004"/>
                <a:ext cx="1104380" cy="1303109"/>
              </a:xfrm>
              <a:prstGeom prst="rect">
                <a:avLst/>
              </a:prstGeom>
            </p:spPr>
          </p:pic>
        </mc:Fallback>
      </mc:AlternateContent>
      <p:sp>
        <p:nvSpPr>
          <p:cNvPr id="153" name="TextBox 152">
            <a:extLst>
              <a:ext uri="{FF2B5EF4-FFF2-40B4-BE49-F238E27FC236}">
                <a16:creationId xmlns:a16="http://schemas.microsoft.com/office/drawing/2014/main" id="{258AE297-0F3E-40C1-A0AA-217C33CD6BD8}"/>
              </a:ext>
            </a:extLst>
          </p:cNvPr>
          <p:cNvSpPr txBox="1"/>
          <p:nvPr/>
        </p:nvSpPr>
        <p:spPr>
          <a:xfrm>
            <a:off x="3263679" y="4676668"/>
            <a:ext cx="2663633" cy="276999"/>
          </a:xfrm>
          <a:prstGeom prst="rect">
            <a:avLst/>
          </a:prstGeom>
          <a:noFill/>
        </p:spPr>
        <p:txBody>
          <a:bodyPr wrap="square" rtlCol="0">
            <a:spAutoFit/>
          </a:bodyPr>
          <a:lstStyle/>
          <a:p>
            <a:pPr algn="ctr">
              <a:spcBef>
                <a:spcPts val="600"/>
              </a:spcBef>
              <a:spcAft>
                <a:spcPts val="600"/>
              </a:spcAft>
            </a:pPr>
            <a:r>
              <a:rPr lang="en-GB" sz="1200" b="1" dirty="0"/>
              <a:t>Appropriate Testing</a:t>
            </a:r>
          </a:p>
        </p:txBody>
      </p:sp>
      <p:sp>
        <p:nvSpPr>
          <p:cNvPr id="156" name="Rectangle 155">
            <a:extLst>
              <a:ext uri="{FF2B5EF4-FFF2-40B4-BE49-F238E27FC236}">
                <a16:creationId xmlns:a16="http://schemas.microsoft.com/office/drawing/2014/main" id="{CE35AA94-58A7-4B65-BA10-19765B542CF6}"/>
              </a:ext>
            </a:extLst>
          </p:cNvPr>
          <p:cNvSpPr/>
          <p:nvPr/>
        </p:nvSpPr>
        <p:spPr>
          <a:xfrm>
            <a:off x="6094306" y="4658999"/>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57" name="Chart 156">
            <a:extLst>
              <a:ext uri="{FF2B5EF4-FFF2-40B4-BE49-F238E27FC236}">
                <a16:creationId xmlns:a16="http://schemas.microsoft.com/office/drawing/2014/main" id="{066454A8-8B9A-4BAC-8166-BD886D2702A0}"/>
              </a:ext>
            </a:extLst>
          </p:cNvPr>
          <p:cNvGraphicFramePr/>
          <p:nvPr>
            <p:extLst>
              <p:ext uri="{D42A27DB-BD31-4B8C-83A1-F6EECF244321}">
                <p14:modId xmlns:p14="http://schemas.microsoft.com/office/powerpoint/2010/main" val="1918971812"/>
              </p:ext>
            </p:extLst>
          </p:nvPr>
        </p:nvGraphicFramePr>
        <p:xfrm>
          <a:off x="5950858" y="4892551"/>
          <a:ext cx="1676536" cy="1490294"/>
        </p:xfrm>
        <a:graphic>
          <a:graphicData uri="http://schemas.openxmlformats.org/drawingml/2006/chart">
            <c:chart xmlns:c="http://schemas.openxmlformats.org/drawingml/2006/chart" xmlns:r="http://schemas.openxmlformats.org/officeDocument/2006/relationships" r:id="rId33"/>
          </a:graphicData>
        </a:graphic>
      </p:graphicFrame>
      <p:cxnSp>
        <p:nvCxnSpPr>
          <p:cNvPr id="158" name="Straight Connector 157">
            <a:extLst>
              <a:ext uri="{FF2B5EF4-FFF2-40B4-BE49-F238E27FC236}">
                <a16:creationId xmlns:a16="http://schemas.microsoft.com/office/drawing/2014/main" id="{4BD2ED3A-BF4A-458D-A2EC-6930C365D46C}"/>
              </a:ext>
            </a:extLst>
          </p:cNvPr>
          <p:cNvCxnSpPr>
            <a:cxnSpLocks/>
          </p:cNvCxnSpPr>
          <p:nvPr/>
        </p:nvCxnSpPr>
        <p:spPr>
          <a:xfrm>
            <a:off x="6143806" y="4981365"/>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65F67377-4B25-4DBA-A4EC-BB07456E38F3}"/>
              </a:ext>
            </a:extLst>
          </p:cNvPr>
          <p:cNvSpPr txBox="1"/>
          <p:nvPr/>
        </p:nvSpPr>
        <p:spPr>
          <a:xfrm>
            <a:off x="6094306" y="4676668"/>
            <a:ext cx="2663633" cy="276999"/>
          </a:xfrm>
          <a:prstGeom prst="rect">
            <a:avLst/>
          </a:prstGeom>
          <a:noFill/>
        </p:spPr>
        <p:txBody>
          <a:bodyPr wrap="square" rtlCol="0">
            <a:spAutoFit/>
          </a:bodyPr>
          <a:lstStyle/>
          <a:p>
            <a:pPr algn="ctr">
              <a:spcBef>
                <a:spcPts val="600"/>
              </a:spcBef>
              <a:spcAft>
                <a:spcPts val="600"/>
              </a:spcAft>
            </a:pPr>
            <a:r>
              <a:rPr lang="en-GB" sz="1200" b="1" dirty="0"/>
              <a:t>Vacancy Score</a:t>
            </a:r>
          </a:p>
        </p:txBody>
      </p:sp>
      <p:sp>
        <p:nvSpPr>
          <p:cNvPr id="160" name="TextBox 159">
            <a:extLst>
              <a:ext uri="{FF2B5EF4-FFF2-40B4-BE49-F238E27FC236}">
                <a16:creationId xmlns:a16="http://schemas.microsoft.com/office/drawing/2014/main" id="{AB850BCF-DACB-435A-84DE-40CD1DBF9408}"/>
              </a:ext>
            </a:extLst>
          </p:cNvPr>
          <p:cNvSpPr txBox="1"/>
          <p:nvPr/>
        </p:nvSpPr>
        <p:spPr>
          <a:xfrm>
            <a:off x="6555126" y="5453032"/>
            <a:ext cx="468000" cy="369332"/>
          </a:xfrm>
          <a:prstGeom prst="rect">
            <a:avLst/>
          </a:prstGeom>
          <a:noFill/>
        </p:spPr>
        <p:txBody>
          <a:bodyPr wrap="square" rtlCol="0">
            <a:spAutoFit/>
          </a:bodyPr>
          <a:lstStyle/>
          <a:p>
            <a:pPr algn="ctr">
              <a:spcBef>
                <a:spcPts val="600"/>
              </a:spcBef>
              <a:spcAft>
                <a:spcPts val="600"/>
              </a:spcAft>
            </a:pPr>
            <a:r>
              <a:rPr lang="en-GB" b="1" dirty="0"/>
              <a:t>30</a:t>
            </a:r>
          </a:p>
        </p:txBody>
      </p:sp>
      <mc:AlternateContent xmlns:mc="http://schemas.openxmlformats.org/markup-compatibility/2006" xmlns:cx1="http://schemas.microsoft.com/office/drawing/2015/9/8/chartex">
        <mc:Choice Requires="cx1">
          <p:graphicFrame>
            <p:nvGraphicFramePr>
              <p:cNvPr id="161" name="Chart 160">
                <a:extLst>
                  <a:ext uri="{FF2B5EF4-FFF2-40B4-BE49-F238E27FC236}">
                    <a16:creationId xmlns:a16="http://schemas.microsoft.com/office/drawing/2014/main" id="{AB9CE0A8-3DB0-4583-BA9D-1056C3E1CEC6}"/>
                  </a:ext>
                </a:extLst>
              </p:cNvPr>
              <p:cNvGraphicFramePr/>
              <p:nvPr>
                <p:extLst>
                  <p:ext uri="{D42A27DB-BD31-4B8C-83A1-F6EECF244321}">
                    <p14:modId xmlns:p14="http://schemas.microsoft.com/office/powerpoint/2010/main" val="3460259484"/>
                  </p:ext>
                </p:extLst>
              </p:nvPr>
            </p:nvGraphicFramePr>
            <p:xfrm>
              <a:off x="7519253" y="4998004"/>
              <a:ext cx="1104380" cy="1303109"/>
            </p:xfrm>
            <a:graphic>
              <a:graphicData uri="http://schemas.microsoft.com/office/drawing/2014/chartex">
                <cx:chart xmlns:cx="http://schemas.microsoft.com/office/drawing/2014/chartex" xmlns:r="http://schemas.openxmlformats.org/officeDocument/2006/relationships" r:id="rId34"/>
              </a:graphicData>
            </a:graphic>
          </p:graphicFrame>
        </mc:Choice>
        <mc:Fallback xmlns="">
          <p:pic>
            <p:nvPicPr>
              <p:cNvPr id="161" name="Chart 160">
                <a:extLst>
                  <a:ext uri="{FF2B5EF4-FFF2-40B4-BE49-F238E27FC236}">
                    <a16:creationId xmlns:a16="http://schemas.microsoft.com/office/drawing/2014/main" id="{AB9CE0A8-3DB0-4583-BA9D-1056C3E1CEC6}"/>
                  </a:ext>
                </a:extLst>
              </p:cNvPr>
              <p:cNvPicPr>
                <a:picLocks noGrp="1" noRot="1" noChangeAspect="1" noMove="1" noResize="1" noEditPoints="1" noAdjustHandles="1" noChangeArrowheads="1" noChangeShapeType="1"/>
              </p:cNvPicPr>
              <p:nvPr/>
            </p:nvPicPr>
            <p:blipFill>
              <a:blip r:embed="rId35"/>
              <a:stretch>
                <a:fillRect/>
              </a:stretch>
            </p:blipFill>
            <p:spPr>
              <a:xfrm>
                <a:off x="7519253" y="4998004"/>
                <a:ext cx="1104380" cy="1303109"/>
              </a:xfrm>
              <a:prstGeom prst="rect">
                <a:avLst/>
              </a:prstGeom>
            </p:spPr>
          </p:pic>
        </mc:Fallback>
      </mc:AlternateContent>
      <p:sp>
        <p:nvSpPr>
          <p:cNvPr id="109" name="Rectangle 108">
            <a:extLst>
              <a:ext uri="{FF2B5EF4-FFF2-40B4-BE49-F238E27FC236}">
                <a16:creationId xmlns:a16="http://schemas.microsoft.com/office/drawing/2014/main" id="{924C1E36-712B-4E2C-937C-A68C2D5471D2}"/>
              </a:ext>
            </a:extLst>
          </p:cNvPr>
          <p:cNvSpPr/>
          <p:nvPr/>
        </p:nvSpPr>
        <p:spPr>
          <a:xfrm>
            <a:off x="3260801" y="4658999"/>
            <a:ext cx="2663634" cy="161441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extLst>
              <a:ext uri="{FF2B5EF4-FFF2-40B4-BE49-F238E27FC236}">
                <a16:creationId xmlns:a16="http://schemas.microsoft.com/office/drawing/2014/main" id="{3D62C117-5AC1-4C81-A914-A9A72E0DF50E}"/>
              </a:ext>
            </a:extLst>
          </p:cNvPr>
          <p:cNvSpPr/>
          <p:nvPr/>
        </p:nvSpPr>
        <p:spPr>
          <a:xfrm>
            <a:off x="8924933" y="4675019"/>
            <a:ext cx="2977464" cy="1614416"/>
          </a:xfrm>
          <a:prstGeom prst="rect">
            <a:avLst/>
          </a:prstGeom>
          <a:solidFill>
            <a:schemeClr val="accent3">
              <a:lumMod val="20000"/>
              <a:lumOff val="8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indent="-144000">
              <a:spcBef>
                <a:spcPts val="300"/>
              </a:spcBef>
              <a:spcAft>
                <a:spcPts val="300"/>
              </a:spcAft>
              <a:buFont typeface="Arial" panose="020B0604020202020204" pitchFamily="34" charset="0"/>
              <a:buChar char="•"/>
            </a:pPr>
            <a:r>
              <a:rPr lang="en-GB" sz="1100" dirty="0">
                <a:solidFill>
                  <a:schemeClr val="tx1"/>
                </a:solidFill>
              </a:rPr>
              <a:t>High facility averages for guidelines, supportive supervision, availability of O2 and community led monitoring</a:t>
            </a:r>
          </a:p>
          <a:p>
            <a:pPr marL="144000" indent="-144000">
              <a:spcBef>
                <a:spcPts val="300"/>
              </a:spcBef>
              <a:spcAft>
                <a:spcPts val="300"/>
              </a:spcAft>
              <a:buFont typeface="Arial" panose="020B0604020202020204" pitchFamily="34" charset="0"/>
              <a:buChar char="•"/>
            </a:pPr>
            <a:r>
              <a:rPr lang="en-GB" sz="1100" dirty="0">
                <a:solidFill>
                  <a:schemeClr val="tx1"/>
                </a:solidFill>
              </a:rPr>
              <a:t>Average means for xx, </a:t>
            </a:r>
            <a:r>
              <a:rPr lang="en-GB" sz="1100" dirty="0" err="1">
                <a:solidFill>
                  <a:schemeClr val="tx1"/>
                </a:solidFill>
              </a:rPr>
              <a:t>yy</a:t>
            </a:r>
            <a:r>
              <a:rPr lang="en-GB" sz="1100" dirty="0">
                <a:solidFill>
                  <a:schemeClr val="tx1"/>
                </a:solidFill>
              </a:rPr>
              <a:t>, </a:t>
            </a:r>
            <a:r>
              <a:rPr lang="en-GB" sz="1100" dirty="0" err="1">
                <a:solidFill>
                  <a:schemeClr val="tx1"/>
                </a:solidFill>
              </a:rPr>
              <a:t>zzz</a:t>
            </a:r>
            <a:r>
              <a:rPr lang="en-GB" sz="1100" dirty="0">
                <a:solidFill>
                  <a:schemeClr val="tx1"/>
                </a:solidFill>
              </a:rPr>
              <a:t> however these had a wide spread with highs of 90 an lows of 20 and below observed</a:t>
            </a:r>
          </a:p>
        </p:txBody>
      </p:sp>
      <p:graphicFrame>
        <p:nvGraphicFramePr>
          <p:cNvPr id="122" name="Chart 121">
            <a:extLst>
              <a:ext uri="{FF2B5EF4-FFF2-40B4-BE49-F238E27FC236}">
                <a16:creationId xmlns:a16="http://schemas.microsoft.com/office/drawing/2014/main" id="{1A336398-FD62-4451-9C63-788E1DA99173}"/>
              </a:ext>
            </a:extLst>
          </p:cNvPr>
          <p:cNvGraphicFramePr/>
          <p:nvPr>
            <p:extLst>
              <p:ext uri="{D42A27DB-BD31-4B8C-83A1-F6EECF244321}">
                <p14:modId xmlns:p14="http://schemas.microsoft.com/office/powerpoint/2010/main" val="2325180570"/>
              </p:ext>
            </p:extLst>
          </p:nvPr>
        </p:nvGraphicFramePr>
        <p:xfrm>
          <a:off x="3117353" y="4892551"/>
          <a:ext cx="1676536" cy="1490294"/>
        </p:xfrm>
        <a:graphic>
          <a:graphicData uri="http://schemas.openxmlformats.org/drawingml/2006/chart">
            <c:chart xmlns:c="http://schemas.openxmlformats.org/drawingml/2006/chart" xmlns:r="http://schemas.openxmlformats.org/officeDocument/2006/relationships" r:id="rId36"/>
          </a:graphicData>
        </a:graphic>
      </p:graphicFrame>
      <p:cxnSp>
        <p:nvCxnSpPr>
          <p:cNvPr id="123" name="Straight Connector 122">
            <a:extLst>
              <a:ext uri="{FF2B5EF4-FFF2-40B4-BE49-F238E27FC236}">
                <a16:creationId xmlns:a16="http://schemas.microsoft.com/office/drawing/2014/main" id="{95879CB8-5D72-42BA-8572-636DDB9F6669}"/>
              </a:ext>
            </a:extLst>
          </p:cNvPr>
          <p:cNvCxnSpPr>
            <a:cxnSpLocks/>
          </p:cNvCxnSpPr>
          <p:nvPr/>
        </p:nvCxnSpPr>
        <p:spPr>
          <a:xfrm>
            <a:off x="3310301" y="4981365"/>
            <a:ext cx="2544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9FA30770-16C5-4EC7-9F9E-D9075136DD05}"/>
              </a:ext>
            </a:extLst>
          </p:cNvPr>
          <p:cNvSpPr txBox="1"/>
          <p:nvPr/>
        </p:nvSpPr>
        <p:spPr>
          <a:xfrm>
            <a:off x="3260801" y="4694337"/>
            <a:ext cx="2663633" cy="276999"/>
          </a:xfrm>
          <a:prstGeom prst="rect">
            <a:avLst/>
          </a:prstGeom>
          <a:noFill/>
        </p:spPr>
        <p:txBody>
          <a:bodyPr wrap="square" rtlCol="0">
            <a:spAutoFit/>
          </a:bodyPr>
          <a:lstStyle/>
          <a:p>
            <a:pPr algn="ctr">
              <a:spcBef>
                <a:spcPts val="600"/>
              </a:spcBef>
              <a:spcAft>
                <a:spcPts val="600"/>
              </a:spcAft>
            </a:pPr>
            <a:r>
              <a:rPr lang="en-GB" sz="1200" b="1" dirty="0"/>
              <a:t>Appropriate Testing</a:t>
            </a:r>
          </a:p>
        </p:txBody>
      </p:sp>
      <p:sp>
        <p:nvSpPr>
          <p:cNvPr id="125" name="TextBox 124">
            <a:extLst>
              <a:ext uri="{FF2B5EF4-FFF2-40B4-BE49-F238E27FC236}">
                <a16:creationId xmlns:a16="http://schemas.microsoft.com/office/drawing/2014/main" id="{91ED86C1-8406-48D5-B255-3BB37CE0CA20}"/>
              </a:ext>
            </a:extLst>
          </p:cNvPr>
          <p:cNvSpPr txBox="1"/>
          <p:nvPr/>
        </p:nvSpPr>
        <p:spPr>
          <a:xfrm>
            <a:off x="3721621" y="5453032"/>
            <a:ext cx="468000" cy="369332"/>
          </a:xfrm>
          <a:prstGeom prst="rect">
            <a:avLst/>
          </a:prstGeom>
          <a:noFill/>
        </p:spPr>
        <p:txBody>
          <a:bodyPr wrap="square" rtlCol="0">
            <a:spAutoFit/>
          </a:bodyPr>
          <a:lstStyle/>
          <a:p>
            <a:pPr algn="ctr">
              <a:spcBef>
                <a:spcPts val="600"/>
              </a:spcBef>
              <a:spcAft>
                <a:spcPts val="600"/>
              </a:spcAft>
            </a:pPr>
            <a:r>
              <a:rPr lang="en-GB" b="1" dirty="0"/>
              <a:t>51</a:t>
            </a:r>
          </a:p>
        </p:txBody>
      </p:sp>
      <mc:AlternateContent xmlns:mc="http://schemas.openxmlformats.org/markup-compatibility/2006" xmlns:cx1="http://schemas.microsoft.com/office/drawing/2015/9/8/chartex">
        <mc:Choice Requires="cx1">
          <p:graphicFrame>
            <p:nvGraphicFramePr>
              <p:cNvPr id="126" name="Chart 125">
                <a:extLst>
                  <a:ext uri="{FF2B5EF4-FFF2-40B4-BE49-F238E27FC236}">
                    <a16:creationId xmlns:a16="http://schemas.microsoft.com/office/drawing/2014/main" id="{3891EA26-5B83-4773-B8F9-609A0A9D0D73}"/>
                  </a:ext>
                </a:extLst>
              </p:cNvPr>
              <p:cNvGraphicFramePr/>
              <p:nvPr>
                <p:extLst>
                  <p:ext uri="{D42A27DB-BD31-4B8C-83A1-F6EECF244321}">
                    <p14:modId xmlns:p14="http://schemas.microsoft.com/office/powerpoint/2010/main" val="318668730"/>
                  </p:ext>
                </p:extLst>
              </p:nvPr>
            </p:nvGraphicFramePr>
            <p:xfrm>
              <a:off x="4685748" y="4998004"/>
              <a:ext cx="1104380" cy="1303109"/>
            </p:xfrm>
            <a:graphic>
              <a:graphicData uri="http://schemas.microsoft.com/office/drawing/2014/chartex">
                <cx:chart xmlns:cx="http://schemas.microsoft.com/office/drawing/2014/chartex" xmlns:r="http://schemas.openxmlformats.org/officeDocument/2006/relationships" r:id="rId37"/>
              </a:graphicData>
            </a:graphic>
          </p:graphicFrame>
        </mc:Choice>
        <mc:Fallback xmlns="">
          <p:pic>
            <p:nvPicPr>
              <p:cNvPr id="126" name="Chart 125">
                <a:extLst>
                  <a:ext uri="{FF2B5EF4-FFF2-40B4-BE49-F238E27FC236}">
                    <a16:creationId xmlns:a16="http://schemas.microsoft.com/office/drawing/2014/main" id="{3891EA26-5B83-4773-B8F9-609A0A9D0D73}"/>
                  </a:ext>
                </a:extLst>
              </p:cNvPr>
              <p:cNvPicPr>
                <a:picLocks noGrp="1" noRot="1" noChangeAspect="1" noMove="1" noResize="1" noEditPoints="1" noAdjustHandles="1" noChangeArrowheads="1" noChangeShapeType="1"/>
              </p:cNvPicPr>
              <p:nvPr/>
            </p:nvPicPr>
            <p:blipFill>
              <a:blip r:embed="rId38"/>
              <a:stretch>
                <a:fillRect/>
              </a:stretch>
            </p:blipFill>
            <p:spPr>
              <a:xfrm>
                <a:off x="4685748" y="4998004"/>
                <a:ext cx="1104380" cy="1303109"/>
              </a:xfrm>
              <a:prstGeom prst="rect">
                <a:avLst/>
              </a:prstGeom>
            </p:spPr>
          </p:pic>
        </mc:Fallback>
      </mc:AlternateContent>
    </p:spTree>
    <p:extLst>
      <p:ext uri="{BB962C8B-B14F-4D97-AF65-F5344CB8AC3E}">
        <p14:creationId xmlns:p14="http://schemas.microsoft.com/office/powerpoint/2010/main" val="3429625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9575A15-1082-4B6E-A611-7E13991046BC}"/>
              </a:ext>
            </a:extLst>
          </p:cNvPr>
          <p:cNvSpPr/>
          <p:nvPr/>
        </p:nvSpPr>
        <p:spPr>
          <a:xfrm>
            <a:off x="238480" y="850271"/>
            <a:ext cx="9210320" cy="548765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Chart 5">
            <a:extLst>
              <a:ext uri="{FF2B5EF4-FFF2-40B4-BE49-F238E27FC236}">
                <a16:creationId xmlns:a16="http://schemas.microsoft.com/office/drawing/2014/main" id="{F033B52B-78FD-4755-9390-03C09B2A001D}"/>
              </a:ext>
            </a:extLst>
          </p:cNvPr>
          <p:cNvGraphicFramePr/>
          <p:nvPr>
            <p:extLst>
              <p:ext uri="{D42A27DB-BD31-4B8C-83A1-F6EECF244321}">
                <p14:modId xmlns:p14="http://schemas.microsoft.com/office/powerpoint/2010/main" val="1861635343"/>
              </p:ext>
            </p:extLst>
          </p:nvPr>
        </p:nvGraphicFramePr>
        <p:xfrm>
          <a:off x="308331" y="1358900"/>
          <a:ext cx="9070619" cy="229023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78CCB46E-EDA6-4276-8543-889AF92256D5}"/>
              </a:ext>
            </a:extLst>
          </p:cNvPr>
          <p:cNvGraphicFramePr/>
          <p:nvPr>
            <p:extLst>
              <p:ext uri="{D42A27DB-BD31-4B8C-83A1-F6EECF244321}">
                <p14:modId xmlns:p14="http://schemas.microsoft.com/office/powerpoint/2010/main" val="1022323428"/>
              </p:ext>
            </p:extLst>
          </p:nvPr>
        </p:nvGraphicFramePr>
        <p:xfrm>
          <a:off x="308331" y="3733800"/>
          <a:ext cx="9070619" cy="2387599"/>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82BE0D56-2554-484C-910A-34939A8FE28E}"/>
              </a:ext>
            </a:extLst>
          </p:cNvPr>
          <p:cNvSpPr txBox="1"/>
          <p:nvPr/>
        </p:nvSpPr>
        <p:spPr>
          <a:xfrm>
            <a:off x="238480" y="885954"/>
            <a:ext cx="9140470" cy="307777"/>
          </a:xfrm>
          <a:prstGeom prst="rect">
            <a:avLst/>
          </a:prstGeom>
          <a:noFill/>
        </p:spPr>
        <p:txBody>
          <a:bodyPr wrap="square" rtlCol="0">
            <a:spAutoFit/>
          </a:bodyPr>
          <a:lstStyle/>
          <a:p>
            <a:pPr>
              <a:spcBef>
                <a:spcPts val="600"/>
              </a:spcBef>
              <a:spcAft>
                <a:spcPts val="600"/>
              </a:spcAft>
            </a:pPr>
            <a:r>
              <a:rPr lang="en-GB" sz="1400" b="1" dirty="0"/>
              <a:t>Average of 11 indicators for each facility type (</a:t>
            </a:r>
            <a:r>
              <a:rPr lang="en-GB" sz="1400" b="1" i="1" dirty="0"/>
              <a:t>Percent %</a:t>
            </a:r>
            <a:r>
              <a:rPr lang="en-GB" sz="1400" b="1" dirty="0"/>
              <a:t>)</a:t>
            </a:r>
          </a:p>
        </p:txBody>
      </p:sp>
      <p:cxnSp>
        <p:nvCxnSpPr>
          <p:cNvPr id="13" name="Straight Connector 12">
            <a:extLst>
              <a:ext uri="{FF2B5EF4-FFF2-40B4-BE49-F238E27FC236}">
                <a16:creationId xmlns:a16="http://schemas.microsoft.com/office/drawing/2014/main" id="{67C9716D-E8F4-499D-8491-F08D053A9514}"/>
              </a:ext>
            </a:extLst>
          </p:cNvPr>
          <p:cNvCxnSpPr>
            <a:cxnSpLocks/>
          </p:cNvCxnSpPr>
          <p:nvPr/>
        </p:nvCxnSpPr>
        <p:spPr>
          <a:xfrm>
            <a:off x="285102" y="1222401"/>
            <a:ext cx="914047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itle 7">
            <a:extLst>
              <a:ext uri="{FF2B5EF4-FFF2-40B4-BE49-F238E27FC236}">
                <a16:creationId xmlns:a16="http://schemas.microsoft.com/office/drawing/2014/main" id="{A4A3D9CD-3A9C-4435-AEDA-4A4AD43C3A59}"/>
              </a:ext>
            </a:extLst>
          </p:cNvPr>
          <p:cNvSpPr txBox="1">
            <a:spLocks/>
          </p:cNvSpPr>
          <p:nvPr/>
        </p:nvSpPr>
        <p:spPr>
          <a:xfrm>
            <a:off x="1" y="-3752"/>
            <a:ext cx="12181236" cy="802628"/>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Arial Black"/>
              </a:rPr>
              <a:t> </a:t>
            </a:r>
            <a:r>
              <a:rPr kumimoji="0" lang="en-US" sz="2800" b="0" i="0" u="none" strike="noStrike" kern="1200" cap="none" spc="0" normalizeH="0" baseline="0" noProof="0" dirty="0">
                <a:ln>
                  <a:noFill/>
                </a:ln>
                <a:solidFill>
                  <a:prstClr val="black"/>
                </a:solidFill>
                <a:effectLst/>
                <a:uLnTx/>
                <a:uFillTx/>
                <a:latin typeface="Arial Black"/>
                <a:ea typeface="+mj-ea"/>
                <a:cs typeface="+mj-cs"/>
              </a:rPr>
              <a:t>Country level scores for the 11 </a:t>
            </a:r>
            <a:r>
              <a:rPr kumimoji="0" lang="en-US" sz="2800" b="0" i="0" u="none" strike="noStrike" kern="1200" cap="none" spc="0" normalizeH="0" baseline="0" noProof="0" dirty="0" err="1">
                <a:ln>
                  <a:noFill/>
                </a:ln>
                <a:solidFill>
                  <a:prstClr val="black"/>
                </a:solidFill>
                <a:effectLst/>
                <a:uLnTx/>
                <a:uFillTx/>
                <a:latin typeface="Arial Black"/>
                <a:ea typeface="+mj-ea"/>
                <a:cs typeface="+mj-cs"/>
              </a:rPr>
              <a:t>tHFA</a:t>
            </a:r>
            <a:r>
              <a:rPr kumimoji="0" lang="en-US" sz="2800" b="0" i="0" u="none" strike="noStrike" kern="1200" cap="none" spc="0" normalizeH="0" baseline="0" noProof="0" dirty="0">
                <a:ln>
                  <a:noFill/>
                </a:ln>
                <a:solidFill>
                  <a:prstClr val="black"/>
                </a:solidFill>
                <a:effectLst/>
                <a:uLnTx/>
                <a:uFillTx/>
                <a:latin typeface="Arial Black"/>
                <a:ea typeface="+mj-ea"/>
                <a:cs typeface="+mj-cs"/>
              </a:rPr>
              <a:t> indicators</a:t>
            </a:r>
          </a:p>
        </p:txBody>
      </p:sp>
      <p:sp>
        <p:nvSpPr>
          <p:cNvPr id="20" name="Rectangle 19">
            <a:extLst>
              <a:ext uri="{FF2B5EF4-FFF2-40B4-BE49-F238E27FC236}">
                <a16:creationId xmlns:a16="http://schemas.microsoft.com/office/drawing/2014/main" id="{268F7805-DF32-45F9-B149-72176972B4DC}"/>
              </a:ext>
            </a:extLst>
          </p:cNvPr>
          <p:cNvSpPr/>
          <p:nvPr/>
        </p:nvSpPr>
        <p:spPr>
          <a:xfrm>
            <a:off x="9594851" y="1480650"/>
            <a:ext cx="2434869" cy="4336968"/>
          </a:xfrm>
          <a:prstGeom prst="rect">
            <a:avLst/>
          </a:prstGeom>
          <a:solidFill>
            <a:schemeClr val="accent3">
              <a:lumMod val="20000"/>
              <a:lumOff val="8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indent="-144000">
              <a:spcBef>
                <a:spcPts val="300"/>
              </a:spcBef>
              <a:spcAft>
                <a:spcPts val="300"/>
              </a:spcAft>
              <a:buFont typeface="Arial" panose="020B0604020202020204" pitchFamily="34" charset="0"/>
              <a:buChar char="•"/>
            </a:pPr>
            <a:r>
              <a:rPr lang="en-GB" sz="1400" dirty="0">
                <a:solidFill>
                  <a:schemeClr val="tx1"/>
                </a:solidFill>
              </a:rPr>
              <a:t>High facility averages for guidelines, supportive supervision, availability of O2 and community led monitoring</a:t>
            </a:r>
          </a:p>
          <a:p>
            <a:pPr marL="144000" indent="-144000">
              <a:spcBef>
                <a:spcPts val="300"/>
              </a:spcBef>
              <a:spcAft>
                <a:spcPts val="300"/>
              </a:spcAft>
              <a:buFont typeface="Arial" panose="020B0604020202020204" pitchFamily="34" charset="0"/>
              <a:buChar char="•"/>
            </a:pPr>
            <a:endParaRPr lang="en-GB" sz="1400" dirty="0">
              <a:solidFill>
                <a:schemeClr val="tx1"/>
              </a:solidFill>
            </a:endParaRPr>
          </a:p>
          <a:p>
            <a:pPr marL="144000" indent="-144000">
              <a:spcBef>
                <a:spcPts val="300"/>
              </a:spcBef>
              <a:spcAft>
                <a:spcPts val="300"/>
              </a:spcAft>
              <a:buFont typeface="Arial" panose="020B0604020202020204" pitchFamily="34" charset="0"/>
              <a:buChar char="•"/>
            </a:pPr>
            <a:r>
              <a:rPr lang="en-GB" sz="1400" dirty="0">
                <a:solidFill>
                  <a:schemeClr val="tx1"/>
                </a:solidFill>
              </a:rPr>
              <a:t>Average means for xx, </a:t>
            </a:r>
            <a:r>
              <a:rPr lang="en-GB" sz="1400" dirty="0" err="1">
                <a:solidFill>
                  <a:schemeClr val="tx1"/>
                </a:solidFill>
              </a:rPr>
              <a:t>yy</a:t>
            </a:r>
            <a:r>
              <a:rPr lang="en-GB" sz="1400" dirty="0">
                <a:solidFill>
                  <a:schemeClr val="tx1"/>
                </a:solidFill>
              </a:rPr>
              <a:t>, </a:t>
            </a:r>
            <a:r>
              <a:rPr lang="en-GB" sz="1400" dirty="0" err="1">
                <a:solidFill>
                  <a:schemeClr val="tx1"/>
                </a:solidFill>
              </a:rPr>
              <a:t>zzz</a:t>
            </a:r>
            <a:r>
              <a:rPr lang="en-GB" sz="1400" dirty="0">
                <a:solidFill>
                  <a:schemeClr val="tx1"/>
                </a:solidFill>
              </a:rPr>
              <a:t> however these had a wide spread with highs of 90 an lows of 20 and below observed</a:t>
            </a:r>
          </a:p>
          <a:p>
            <a:pPr marL="144000" indent="-144000">
              <a:spcBef>
                <a:spcPts val="300"/>
              </a:spcBef>
              <a:spcAft>
                <a:spcPts val="300"/>
              </a:spcAft>
              <a:buFont typeface="Arial" panose="020B0604020202020204" pitchFamily="34" charset="0"/>
              <a:buChar char="•"/>
            </a:pPr>
            <a:endParaRPr lang="en-GB" sz="1400" dirty="0">
              <a:solidFill>
                <a:schemeClr val="tx1"/>
              </a:solidFill>
            </a:endParaRPr>
          </a:p>
          <a:p>
            <a:pPr marL="144000" indent="-144000">
              <a:spcBef>
                <a:spcPts val="300"/>
              </a:spcBef>
              <a:spcAft>
                <a:spcPts val="300"/>
              </a:spcAft>
              <a:buFont typeface="Arial" panose="020B0604020202020204" pitchFamily="34" charset="0"/>
              <a:buChar char="•"/>
            </a:pPr>
            <a:r>
              <a:rPr lang="en-GB" sz="1400" dirty="0" err="1">
                <a:solidFill>
                  <a:schemeClr val="tx1"/>
                </a:solidFill>
              </a:rPr>
              <a:t>Xxxx</a:t>
            </a:r>
            <a:endParaRPr lang="en-GB" sz="1400" dirty="0">
              <a:solidFill>
                <a:schemeClr val="tx1"/>
              </a:solidFill>
            </a:endParaRPr>
          </a:p>
        </p:txBody>
      </p:sp>
    </p:spTree>
    <p:extLst>
      <p:ext uri="{BB962C8B-B14F-4D97-AF65-F5344CB8AC3E}">
        <p14:creationId xmlns:p14="http://schemas.microsoft.com/office/powerpoint/2010/main" val="33311752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555237" y="1007653"/>
            <a:ext cx="7528011"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Freeform: Shape 99">
            <a:extLst>
              <a:ext uri="{FF2B5EF4-FFF2-40B4-BE49-F238E27FC236}">
                <a16:creationId xmlns:a16="http://schemas.microsoft.com/office/drawing/2014/main" id="{20B5DC33-75EC-4182-BA72-60B4F48EE086}"/>
              </a:ext>
            </a:extLst>
          </p:cNvPr>
          <p:cNvSpPr/>
          <p:nvPr/>
        </p:nvSpPr>
        <p:spPr>
          <a:xfrm rot="16200000" flipH="1">
            <a:off x="6318259" y="2301884"/>
            <a:ext cx="2829143" cy="1350626"/>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20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Freeform: Shape 98">
            <a:extLst>
              <a:ext uri="{FF2B5EF4-FFF2-40B4-BE49-F238E27FC236}">
                <a16:creationId xmlns:a16="http://schemas.microsoft.com/office/drawing/2014/main" id="{F9E06AD5-22A8-4D86-ABBD-5CC2EF37B40A}"/>
              </a:ext>
            </a:extLst>
          </p:cNvPr>
          <p:cNvSpPr/>
          <p:nvPr/>
        </p:nvSpPr>
        <p:spPr>
          <a:xfrm flipH="1">
            <a:off x="243396" y="2973805"/>
            <a:ext cx="4084718" cy="1350626"/>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43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 KPI 1 : Provision of integrated, people-</a:t>
            </a:r>
            <a:r>
              <a:rPr lang="en-GB" sz="2400" dirty="0" err="1"/>
              <a:t>centered</a:t>
            </a:r>
            <a:r>
              <a:rPr lang="en-GB" sz="2400" dirty="0"/>
              <a:t>, high-quality services</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6</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1842155329"/>
              </p:ext>
            </p:extLst>
          </p:nvPr>
        </p:nvGraphicFramePr>
        <p:xfrm>
          <a:off x="604306" y="1474488"/>
          <a:ext cx="3362898" cy="2635956"/>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447069"/>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662791" y="1066171"/>
            <a:ext cx="7318325" cy="338554"/>
          </a:xfrm>
          <a:prstGeom prst="rect">
            <a:avLst/>
          </a:prstGeom>
          <a:noFill/>
        </p:spPr>
        <p:txBody>
          <a:bodyPr wrap="square" rtlCol="0">
            <a:spAutoFit/>
          </a:bodyPr>
          <a:lstStyle/>
          <a:p>
            <a:pPr>
              <a:spcBef>
                <a:spcPts val="600"/>
              </a:spcBef>
              <a:spcAft>
                <a:spcPts val="600"/>
              </a:spcAft>
            </a:pPr>
            <a:r>
              <a:rPr lang="en-GB" sz="1600" b="1" dirty="0"/>
              <a:t>Average by facility types</a:t>
            </a:r>
          </a:p>
        </p:txBody>
      </p:sp>
      <p:graphicFrame>
        <p:nvGraphicFramePr>
          <p:cNvPr id="82" name="Chart 81">
            <a:extLst>
              <a:ext uri="{FF2B5EF4-FFF2-40B4-BE49-F238E27FC236}">
                <a16:creationId xmlns:a16="http://schemas.microsoft.com/office/drawing/2014/main" id="{A414131B-6382-4347-BBAD-911BA5B836FD}"/>
              </a:ext>
            </a:extLst>
          </p:cNvPr>
          <p:cNvGraphicFramePr/>
          <p:nvPr>
            <p:extLst>
              <p:ext uri="{D42A27DB-BD31-4B8C-83A1-F6EECF244321}">
                <p14:modId xmlns:p14="http://schemas.microsoft.com/office/powerpoint/2010/main" val="2634433202"/>
              </p:ext>
            </p:extLst>
          </p:nvPr>
        </p:nvGraphicFramePr>
        <p:xfrm>
          <a:off x="222240" y="4284912"/>
          <a:ext cx="1840819" cy="1799144"/>
        </p:xfrm>
        <a:graphic>
          <a:graphicData uri="http://schemas.openxmlformats.org/drawingml/2006/chart">
            <c:chart xmlns:c="http://schemas.openxmlformats.org/drawingml/2006/chart" xmlns:r="http://schemas.openxmlformats.org/officeDocument/2006/relationships" r:id="rId6"/>
          </a:graphicData>
        </a:graphic>
      </p:graphicFrame>
      <p:sp>
        <p:nvSpPr>
          <p:cNvPr id="86" name="Rectangle 85">
            <a:extLst>
              <a:ext uri="{FF2B5EF4-FFF2-40B4-BE49-F238E27FC236}">
                <a16:creationId xmlns:a16="http://schemas.microsoft.com/office/drawing/2014/main" id="{12A7A32F-2A00-4722-97C2-3FCEDB47A07D}"/>
              </a:ext>
            </a:extLst>
          </p:cNvPr>
          <p:cNvSpPr/>
          <p:nvPr/>
        </p:nvSpPr>
        <p:spPr>
          <a:xfrm>
            <a:off x="4555237" y="5022938"/>
            <a:ext cx="7528011" cy="132622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and Primary Dimensions</a:t>
            </a:r>
          </a:p>
        </p:txBody>
      </p:sp>
      <p:graphicFrame>
        <p:nvGraphicFramePr>
          <p:cNvPr id="89" name="Chart 88">
            <a:extLst>
              <a:ext uri="{FF2B5EF4-FFF2-40B4-BE49-F238E27FC236}">
                <a16:creationId xmlns:a16="http://schemas.microsoft.com/office/drawing/2014/main" id="{FEE28285-81CA-4F43-B4C9-5C936FC60816}"/>
              </a:ext>
            </a:extLst>
          </p:cNvPr>
          <p:cNvGraphicFramePr/>
          <p:nvPr>
            <p:extLst>
              <p:ext uri="{D42A27DB-BD31-4B8C-83A1-F6EECF244321}">
                <p14:modId xmlns:p14="http://schemas.microsoft.com/office/powerpoint/2010/main" val="2527964593"/>
              </p:ext>
            </p:extLst>
          </p:nvPr>
        </p:nvGraphicFramePr>
        <p:xfrm>
          <a:off x="2505906" y="4284912"/>
          <a:ext cx="1840819" cy="1799144"/>
        </p:xfrm>
        <a:graphic>
          <a:graphicData uri="http://schemas.openxmlformats.org/drawingml/2006/chart">
            <c:chart xmlns:c="http://schemas.openxmlformats.org/drawingml/2006/chart" xmlns:r="http://schemas.openxmlformats.org/officeDocument/2006/relationships" r:id="rId7"/>
          </a:graphicData>
        </a:graphic>
      </p:graphicFrame>
      <p:sp>
        <p:nvSpPr>
          <p:cNvPr id="90" name="TextBox 89">
            <a:extLst>
              <a:ext uri="{FF2B5EF4-FFF2-40B4-BE49-F238E27FC236}">
                <a16:creationId xmlns:a16="http://schemas.microsoft.com/office/drawing/2014/main" id="{3A1411BA-337D-4147-80F1-225EBD3C3719}"/>
              </a:ext>
            </a:extLst>
          </p:cNvPr>
          <p:cNvSpPr txBox="1"/>
          <p:nvPr/>
        </p:nvSpPr>
        <p:spPr>
          <a:xfrm>
            <a:off x="222240" y="5986519"/>
            <a:ext cx="1717198" cy="276999"/>
          </a:xfrm>
          <a:prstGeom prst="rect">
            <a:avLst/>
          </a:prstGeom>
          <a:noFill/>
        </p:spPr>
        <p:txBody>
          <a:bodyPr wrap="square" rtlCol="0">
            <a:spAutoFit/>
          </a:bodyPr>
          <a:lstStyle/>
          <a:p>
            <a:pPr algn="ctr">
              <a:spcBef>
                <a:spcPts val="600"/>
              </a:spcBef>
              <a:spcAft>
                <a:spcPts val="600"/>
              </a:spcAft>
            </a:pPr>
            <a:r>
              <a:rPr lang="en-GB" sz="1200" dirty="0"/>
              <a:t>Patient-centeredness</a:t>
            </a:r>
          </a:p>
        </p:txBody>
      </p:sp>
      <p:sp>
        <p:nvSpPr>
          <p:cNvPr id="91" name="TextBox 90">
            <a:extLst>
              <a:ext uri="{FF2B5EF4-FFF2-40B4-BE49-F238E27FC236}">
                <a16:creationId xmlns:a16="http://schemas.microsoft.com/office/drawing/2014/main" id="{0136B833-1CD6-4ABF-8936-D1C865D84B90}"/>
              </a:ext>
            </a:extLst>
          </p:cNvPr>
          <p:cNvSpPr txBox="1"/>
          <p:nvPr/>
        </p:nvSpPr>
        <p:spPr>
          <a:xfrm>
            <a:off x="2674188" y="5894186"/>
            <a:ext cx="1548915" cy="461665"/>
          </a:xfrm>
          <a:prstGeom prst="rect">
            <a:avLst/>
          </a:prstGeom>
          <a:noFill/>
        </p:spPr>
        <p:txBody>
          <a:bodyPr wrap="square" rtlCol="0">
            <a:spAutoFit/>
          </a:bodyPr>
          <a:lstStyle/>
          <a:p>
            <a:pPr algn="ctr">
              <a:spcBef>
                <a:spcPts val="600"/>
              </a:spcBef>
              <a:spcAft>
                <a:spcPts val="600"/>
              </a:spcAft>
            </a:pPr>
            <a:r>
              <a:rPr lang="en-GB" sz="1200" dirty="0"/>
              <a:t>Health worker competence</a:t>
            </a:r>
          </a:p>
        </p:txBody>
      </p:sp>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462712190"/>
              </p:ext>
            </p:extLst>
          </p:nvPr>
        </p:nvGraphicFramePr>
        <p:xfrm>
          <a:off x="6020822" y="3564847"/>
          <a:ext cx="6010992" cy="136340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660097786"/>
              </p:ext>
            </p:extLst>
          </p:nvPr>
        </p:nvGraphicFramePr>
        <p:xfrm>
          <a:off x="6020822" y="2530098"/>
          <a:ext cx="6010992" cy="1034264"/>
        </p:xfrm>
        <a:graphic>
          <a:graphicData uri="http://schemas.openxmlformats.org/drawingml/2006/chart">
            <c:chart xmlns:c="http://schemas.openxmlformats.org/drawingml/2006/chart" xmlns:r="http://schemas.openxmlformats.org/officeDocument/2006/relationships" r:id="rId9"/>
          </a:graphicData>
        </a:graphic>
      </p:graphicFrame>
      <p:grpSp>
        <p:nvGrpSpPr>
          <p:cNvPr id="94" name="Group 93">
            <a:extLst>
              <a:ext uri="{FF2B5EF4-FFF2-40B4-BE49-F238E27FC236}">
                <a16:creationId xmlns:a16="http://schemas.microsoft.com/office/drawing/2014/main" id="{FE6BA20B-9966-443D-92FF-2143FF2B2F51}"/>
              </a:ext>
            </a:extLst>
          </p:cNvPr>
          <p:cNvGrpSpPr/>
          <p:nvPr/>
        </p:nvGrpSpPr>
        <p:grpSpPr>
          <a:xfrm>
            <a:off x="469347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0">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693475"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1">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68375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561634"/>
            <a:ext cx="622433" cy="461665"/>
          </a:xfrm>
          <a:prstGeom prst="rect">
            <a:avLst/>
          </a:prstGeom>
          <a:noFill/>
        </p:spPr>
        <p:txBody>
          <a:bodyPr wrap="square" rtlCol="0">
            <a:spAutoFit/>
          </a:bodyPr>
          <a:lstStyle/>
          <a:p>
            <a:pPr algn="ctr">
              <a:spcBef>
                <a:spcPts val="600"/>
              </a:spcBef>
              <a:spcAft>
                <a:spcPts val="600"/>
              </a:spcAft>
            </a:pPr>
            <a:r>
              <a:rPr lang="en-GB" sz="2400" b="1" dirty="0"/>
              <a:t>58</a:t>
            </a:r>
          </a:p>
        </p:txBody>
      </p:sp>
      <p:sp>
        <p:nvSpPr>
          <p:cNvPr id="96" name="TextBox 95">
            <a:extLst>
              <a:ext uri="{FF2B5EF4-FFF2-40B4-BE49-F238E27FC236}">
                <a16:creationId xmlns:a16="http://schemas.microsoft.com/office/drawing/2014/main" id="{15E68DDF-D534-487C-9655-F75253184C73}"/>
              </a:ext>
            </a:extLst>
          </p:cNvPr>
          <p:cNvSpPr txBox="1"/>
          <p:nvPr/>
        </p:nvSpPr>
        <p:spPr>
          <a:xfrm>
            <a:off x="908649" y="4999818"/>
            <a:ext cx="468000" cy="369332"/>
          </a:xfrm>
          <a:prstGeom prst="rect">
            <a:avLst/>
          </a:prstGeom>
          <a:noFill/>
        </p:spPr>
        <p:txBody>
          <a:bodyPr wrap="square" rtlCol="0">
            <a:spAutoFit/>
          </a:bodyPr>
          <a:lstStyle/>
          <a:p>
            <a:pPr algn="ctr">
              <a:spcBef>
                <a:spcPts val="600"/>
              </a:spcBef>
              <a:spcAft>
                <a:spcPts val="600"/>
              </a:spcAft>
            </a:pPr>
            <a:r>
              <a:rPr lang="en-GB" b="1" dirty="0"/>
              <a:t>67</a:t>
            </a:r>
          </a:p>
        </p:txBody>
      </p:sp>
      <p:sp>
        <p:nvSpPr>
          <p:cNvPr id="97" name="TextBox 96">
            <a:extLst>
              <a:ext uri="{FF2B5EF4-FFF2-40B4-BE49-F238E27FC236}">
                <a16:creationId xmlns:a16="http://schemas.microsoft.com/office/drawing/2014/main" id="{81B1A1C3-84B0-48B2-8D42-2283FC75C9BE}"/>
              </a:ext>
            </a:extLst>
          </p:cNvPr>
          <p:cNvSpPr txBox="1"/>
          <p:nvPr/>
        </p:nvSpPr>
        <p:spPr>
          <a:xfrm>
            <a:off x="3214645" y="4995449"/>
            <a:ext cx="468000" cy="369332"/>
          </a:xfrm>
          <a:prstGeom prst="rect">
            <a:avLst/>
          </a:prstGeom>
          <a:noFill/>
        </p:spPr>
        <p:txBody>
          <a:bodyPr wrap="square" rtlCol="0">
            <a:spAutoFit/>
          </a:bodyPr>
          <a:lstStyle/>
          <a:p>
            <a:pPr algn="ctr">
              <a:spcBef>
                <a:spcPts val="600"/>
              </a:spcBef>
              <a:spcAft>
                <a:spcPts val="600"/>
              </a:spcAft>
            </a:pPr>
            <a:r>
              <a:rPr lang="en-GB" b="1" dirty="0"/>
              <a:t>50</a:t>
            </a:r>
          </a:p>
        </p:txBody>
      </p:sp>
      <p:graphicFrame>
        <p:nvGraphicFramePr>
          <p:cNvPr id="98" name="Chart 97">
            <a:extLst>
              <a:ext uri="{FF2B5EF4-FFF2-40B4-BE49-F238E27FC236}">
                <a16:creationId xmlns:a16="http://schemas.microsoft.com/office/drawing/2014/main" id="{8352E3B5-080C-46DE-B7F7-0E64A6BA5CFE}"/>
              </a:ext>
            </a:extLst>
          </p:cNvPr>
          <p:cNvGraphicFramePr/>
          <p:nvPr>
            <p:extLst>
              <p:ext uri="{D42A27DB-BD31-4B8C-83A1-F6EECF244321}">
                <p14:modId xmlns:p14="http://schemas.microsoft.com/office/powerpoint/2010/main" val="2356185979"/>
              </p:ext>
            </p:extLst>
          </p:nvPr>
        </p:nvGraphicFramePr>
        <p:xfrm>
          <a:off x="6020822" y="1500972"/>
          <a:ext cx="6010992" cy="1034264"/>
        </p:xfrm>
        <a:graphic>
          <a:graphicData uri="http://schemas.openxmlformats.org/drawingml/2006/chart">
            <c:chart xmlns:c="http://schemas.openxmlformats.org/drawingml/2006/chart" xmlns:r="http://schemas.openxmlformats.org/officeDocument/2006/relationships" r:id="rId13"/>
          </a:graphicData>
        </a:graphic>
      </p:graphicFrame>
      <p:sp>
        <p:nvSpPr>
          <p:cNvPr id="101" name="Rectangle 100">
            <a:extLst>
              <a:ext uri="{FF2B5EF4-FFF2-40B4-BE49-F238E27FC236}">
                <a16:creationId xmlns:a16="http://schemas.microsoft.com/office/drawing/2014/main" id="{BBBFF8E2-F404-495F-B8B6-EDEB382ABEC9}"/>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3279234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555237" y="1007653"/>
            <a:ext cx="7528011"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837859" y="363988"/>
            <a:ext cx="2772000" cy="5260886"/>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6000">
                <a:srgbClr val="EAEDFF">
                  <a:alpha val="98000"/>
                </a:srgbClr>
              </a:gs>
              <a:gs pos="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Freeform: Shape 106">
            <a:extLst>
              <a:ext uri="{FF2B5EF4-FFF2-40B4-BE49-F238E27FC236}">
                <a16:creationId xmlns:a16="http://schemas.microsoft.com/office/drawing/2014/main" id="{620411A3-F2A3-40D7-97C5-9F59D25D860C}"/>
              </a:ext>
            </a:extLst>
          </p:cNvPr>
          <p:cNvSpPr/>
          <p:nvPr/>
        </p:nvSpPr>
        <p:spPr>
          <a:xfrm flipH="1">
            <a:off x="222240" y="2578986"/>
            <a:ext cx="4084718" cy="1181113"/>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43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 KPI S2: Provision of integrated supportive supervision</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7</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567584125"/>
              </p:ext>
            </p:extLst>
          </p:nvPr>
        </p:nvGraphicFramePr>
        <p:xfrm>
          <a:off x="815616" y="1474488"/>
          <a:ext cx="2940278" cy="2089874"/>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447069"/>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662791" y="1066171"/>
            <a:ext cx="7318325" cy="338554"/>
          </a:xfrm>
          <a:prstGeom prst="rect">
            <a:avLst/>
          </a:prstGeom>
          <a:noFill/>
        </p:spPr>
        <p:txBody>
          <a:bodyPr wrap="square" rtlCol="0">
            <a:spAutoFit/>
          </a:bodyPr>
          <a:lstStyle/>
          <a:p>
            <a:pPr>
              <a:spcBef>
                <a:spcPts val="600"/>
              </a:spcBef>
              <a:spcAft>
                <a:spcPts val="600"/>
              </a:spcAft>
            </a:pPr>
            <a:r>
              <a:rPr lang="en-GB" sz="1600" b="1" dirty="0"/>
              <a:t>Average by facility types</a:t>
            </a:r>
          </a:p>
        </p:txBody>
      </p:sp>
      <p:sp>
        <p:nvSpPr>
          <p:cNvPr id="86" name="Rectangle 85">
            <a:extLst>
              <a:ext uri="{FF2B5EF4-FFF2-40B4-BE49-F238E27FC236}">
                <a16:creationId xmlns:a16="http://schemas.microsoft.com/office/drawing/2014/main" id="{12A7A32F-2A00-4722-97C2-3FCEDB47A07D}"/>
              </a:ext>
            </a:extLst>
          </p:cNvPr>
          <p:cNvSpPr/>
          <p:nvPr/>
        </p:nvSpPr>
        <p:spPr>
          <a:xfrm>
            <a:off x="4555237" y="5022938"/>
            <a:ext cx="7528011" cy="132622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and Primary Dimensions</a:t>
            </a:r>
          </a:p>
        </p:txBody>
      </p:sp>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1804548432"/>
              </p:ext>
            </p:extLst>
          </p:nvPr>
        </p:nvGraphicFramePr>
        <p:xfrm>
          <a:off x="6020822" y="3564847"/>
          <a:ext cx="6010992"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294788303"/>
              </p:ext>
            </p:extLst>
          </p:nvPr>
        </p:nvGraphicFramePr>
        <p:xfrm>
          <a:off x="6020822" y="2530098"/>
          <a:ext cx="6010992" cy="1034264"/>
        </p:xfrm>
        <a:graphic>
          <a:graphicData uri="http://schemas.openxmlformats.org/drawingml/2006/chart">
            <c:chart xmlns:c="http://schemas.openxmlformats.org/drawingml/2006/chart" xmlns:r="http://schemas.openxmlformats.org/officeDocument/2006/relationships" r:id="rId7"/>
          </a:graphicData>
        </a:graphic>
      </p:graphicFrame>
      <p:grpSp>
        <p:nvGrpSpPr>
          <p:cNvPr id="94" name="Group 93">
            <a:extLst>
              <a:ext uri="{FF2B5EF4-FFF2-40B4-BE49-F238E27FC236}">
                <a16:creationId xmlns:a16="http://schemas.microsoft.com/office/drawing/2014/main" id="{FE6BA20B-9966-443D-92FF-2143FF2B2F51}"/>
              </a:ext>
            </a:extLst>
          </p:cNvPr>
          <p:cNvGrpSpPr/>
          <p:nvPr/>
        </p:nvGrpSpPr>
        <p:grpSpPr>
          <a:xfrm>
            <a:off x="469347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8">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693475"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68375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288593"/>
            <a:ext cx="622433" cy="461665"/>
          </a:xfrm>
          <a:prstGeom prst="rect">
            <a:avLst/>
          </a:prstGeom>
          <a:noFill/>
        </p:spPr>
        <p:txBody>
          <a:bodyPr wrap="square" rtlCol="0">
            <a:spAutoFit/>
          </a:bodyPr>
          <a:lstStyle/>
          <a:p>
            <a:pPr algn="ctr">
              <a:spcBef>
                <a:spcPts val="600"/>
              </a:spcBef>
              <a:spcAft>
                <a:spcPts val="600"/>
              </a:spcAft>
            </a:pPr>
            <a:r>
              <a:rPr lang="en-GB" sz="2400" b="1" dirty="0"/>
              <a:t>58</a:t>
            </a:r>
          </a:p>
        </p:txBody>
      </p:sp>
      <p:graphicFrame>
        <p:nvGraphicFramePr>
          <p:cNvPr id="98" name="Chart 97">
            <a:extLst>
              <a:ext uri="{FF2B5EF4-FFF2-40B4-BE49-F238E27FC236}">
                <a16:creationId xmlns:a16="http://schemas.microsoft.com/office/drawing/2014/main" id="{8352E3B5-080C-46DE-B7F7-0E64A6BA5CFE}"/>
              </a:ext>
            </a:extLst>
          </p:cNvPr>
          <p:cNvGraphicFramePr/>
          <p:nvPr>
            <p:extLst>
              <p:ext uri="{D42A27DB-BD31-4B8C-83A1-F6EECF244321}">
                <p14:modId xmlns:p14="http://schemas.microsoft.com/office/powerpoint/2010/main" val="2858982278"/>
              </p:ext>
            </p:extLst>
          </p:nvPr>
        </p:nvGraphicFramePr>
        <p:xfrm>
          <a:off x="6020822" y="1500972"/>
          <a:ext cx="6010992" cy="10342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83" name="Chart 82">
            <a:extLst>
              <a:ext uri="{FF2B5EF4-FFF2-40B4-BE49-F238E27FC236}">
                <a16:creationId xmlns:a16="http://schemas.microsoft.com/office/drawing/2014/main" id="{C3794453-990D-4BB6-87FA-978BDCEF7793}"/>
              </a:ext>
            </a:extLst>
          </p:cNvPr>
          <p:cNvGraphicFramePr/>
          <p:nvPr>
            <p:extLst>
              <p:ext uri="{D42A27DB-BD31-4B8C-83A1-F6EECF244321}">
                <p14:modId xmlns:p14="http://schemas.microsoft.com/office/powerpoint/2010/main" val="1056657147"/>
              </p:ext>
            </p:extLst>
          </p:nvPr>
        </p:nvGraphicFramePr>
        <p:xfrm>
          <a:off x="248397" y="3841281"/>
          <a:ext cx="4100874" cy="2391237"/>
        </p:xfrm>
        <a:graphic>
          <a:graphicData uri="http://schemas.openxmlformats.org/drawingml/2006/chart">
            <c:chart xmlns:c="http://schemas.openxmlformats.org/drawingml/2006/chart" xmlns:r="http://schemas.openxmlformats.org/officeDocument/2006/relationships" r:id="rId12"/>
          </a:graphicData>
        </a:graphic>
      </p:graphicFrame>
      <p:sp>
        <p:nvSpPr>
          <p:cNvPr id="115" name="Rectangle 114">
            <a:extLst>
              <a:ext uri="{FF2B5EF4-FFF2-40B4-BE49-F238E27FC236}">
                <a16:creationId xmlns:a16="http://schemas.microsoft.com/office/drawing/2014/main" id="{D9CC381D-B909-45C4-9911-EEF1773CAB69}"/>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3027516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555237" y="1007653"/>
            <a:ext cx="7528011"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837859" y="363988"/>
            <a:ext cx="2772000" cy="5260886"/>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6000">
                <a:srgbClr val="EAEDFF">
                  <a:alpha val="98000"/>
                </a:srgbClr>
              </a:gs>
              <a:gs pos="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Freeform: Shape 106">
            <a:extLst>
              <a:ext uri="{FF2B5EF4-FFF2-40B4-BE49-F238E27FC236}">
                <a16:creationId xmlns:a16="http://schemas.microsoft.com/office/drawing/2014/main" id="{620411A3-F2A3-40D7-97C5-9F59D25D860C}"/>
              </a:ext>
            </a:extLst>
          </p:cNvPr>
          <p:cNvSpPr/>
          <p:nvPr/>
        </p:nvSpPr>
        <p:spPr>
          <a:xfrm flipH="1">
            <a:off x="222240" y="2578986"/>
            <a:ext cx="4084718" cy="1181113"/>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43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 KPI S3: HTM integrated services offered to pregnant women</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8</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nvGraphicFramePr>
        <p:xfrm>
          <a:off x="815616" y="1474488"/>
          <a:ext cx="2940278" cy="2089874"/>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544242"/>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662791" y="1028071"/>
            <a:ext cx="7318325" cy="523220"/>
          </a:xfrm>
          <a:prstGeom prst="rect">
            <a:avLst/>
          </a:prstGeom>
          <a:noFill/>
        </p:spPr>
        <p:txBody>
          <a:bodyPr wrap="square" rtlCol="0">
            <a:spAutoFit/>
          </a:bodyPr>
          <a:lstStyle>
            <a:defPPr>
              <a:defRPr lang="en-US"/>
            </a:defPPr>
            <a:lvl1pPr>
              <a:spcBef>
                <a:spcPts val="600"/>
              </a:spcBef>
              <a:spcAft>
                <a:spcPts val="600"/>
              </a:spcAft>
              <a:defRPr sz="1400" b="1"/>
            </a:lvl1pPr>
          </a:lstStyle>
          <a:p>
            <a:r>
              <a:rPr lang="en-GB" dirty="0"/>
              <a:t>Average for indicator and dimensions for Integrated HTM during ANC visits by facility types</a:t>
            </a:r>
          </a:p>
        </p:txBody>
      </p:sp>
      <p:sp>
        <p:nvSpPr>
          <p:cNvPr id="86" name="Rectangle 85">
            <a:extLst>
              <a:ext uri="{FF2B5EF4-FFF2-40B4-BE49-F238E27FC236}">
                <a16:creationId xmlns:a16="http://schemas.microsoft.com/office/drawing/2014/main" id="{12A7A32F-2A00-4722-97C2-3FCEDB47A07D}"/>
              </a:ext>
            </a:extLst>
          </p:cNvPr>
          <p:cNvSpPr/>
          <p:nvPr/>
        </p:nvSpPr>
        <p:spPr>
          <a:xfrm>
            <a:off x="4555237" y="5022938"/>
            <a:ext cx="7528011" cy="132622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dd chart to show all indicator scores on this page</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and dimensions for Integrated HTM during ANC visits</a:t>
            </a:r>
          </a:p>
        </p:txBody>
      </p:sp>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2969691026"/>
              </p:ext>
            </p:extLst>
          </p:nvPr>
        </p:nvGraphicFramePr>
        <p:xfrm>
          <a:off x="6020822" y="3564847"/>
          <a:ext cx="6010992"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nvGraphicFramePr>
        <p:xfrm>
          <a:off x="6020822" y="2530098"/>
          <a:ext cx="6010992" cy="1034264"/>
        </p:xfrm>
        <a:graphic>
          <a:graphicData uri="http://schemas.openxmlformats.org/drawingml/2006/chart">
            <c:chart xmlns:c="http://schemas.openxmlformats.org/drawingml/2006/chart" xmlns:r="http://schemas.openxmlformats.org/officeDocument/2006/relationships" r:id="rId7"/>
          </a:graphicData>
        </a:graphic>
      </p:graphicFrame>
      <p:grpSp>
        <p:nvGrpSpPr>
          <p:cNvPr id="94" name="Group 93">
            <a:extLst>
              <a:ext uri="{FF2B5EF4-FFF2-40B4-BE49-F238E27FC236}">
                <a16:creationId xmlns:a16="http://schemas.microsoft.com/office/drawing/2014/main" id="{FE6BA20B-9966-443D-92FF-2143FF2B2F51}"/>
              </a:ext>
            </a:extLst>
          </p:cNvPr>
          <p:cNvGrpSpPr/>
          <p:nvPr/>
        </p:nvGrpSpPr>
        <p:grpSpPr>
          <a:xfrm>
            <a:off x="469347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8">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693475"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68375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288593"/>
            <a:ext cx="622433" cy="461665"/>
          </a:xfrm>
          <a:prstGeom prst="rect">
            <a:avLst/>
          </a:prstGeom>
          <a:noFill/>
        </p:spPr>
        <p:txBody>
          <a:bodyPr wrap="square" rtlCol="0">
            <a:spAutoFit/>
          </a:bodyPr>
          <a:lstStyle/>
          <a:p>
            <a:pPr algn="ctr">
              <a:spcBef>
                <a:spcPts val="600"/>
              </a:spcBef>
              <a:spcAft>
                <a:spcPts val="600"/>
              </a:spcAft>
            </a:pPr>
            <a:r>
              <a:rPr lang="en-GB" sz="2400" b="1" dirty="0"/>
              <a:t>58</a:t>
            </a:r>
          </a:p>
        </p:txBody>
      </p:sp>
      <p:graphicFrame>
        <p:nvGraphicFramePr>
          <p:cNvPr id="98" name="Chart 97">
            <a:extLst>
              <a:ext uri="{FF2B5EF4-FFF2-40B4-BE49-F238E27FC236}">
                <a16:creationId xmlns:a16="http://schemas.microsoft.com/office/drawing/2014/main" id="{8352E3B5-080C-46DE-B7F7-0E64A6BA5CFE}"/>
              </a:ext>
            </a:extLst>
          </p:cNvPr>
          <p:cNvGraphicFramePr/>
          <p:nvPr/>
        </p:nvGraphicFramePr>
        <p:xfrm>
          <a:off x="6020822" y="1500972"/>
          <a:ext cx="6010992" cy="10342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83" name="Chart 82">
            <a:extLst>
              <a:ext uri="{FF2B5EF4-FFF2-40B4-BE49-F238E27FC236}">
                <a16:creationId xmlns:a16="http://schemas.microsoft.com/office/drawing/2014/main" id="{C3794453-990D-4BB6-87FA-978BDCEF7793}"/>
              </a:ext>
            </a:extLst>
          </p:cNvPr>
          <p:cNvGraphicFramePr/>
          <p:nvPr>
            <p:extLst>
              <p:ext uri="{D42A27DB-BD31-4B8C-83A1-F6EECF244321}">
                <p14:modId xmlns:p14="http://schemas.microsoft.com/office/powerpoint/2010/main" val="3632253657"/>
              </p:ext>
            </p:extLst>
          </p:nvPr>
        </p:nvGraphicFramePr>
        <p:xfrm>
          <a:off x="248397" y="3841281"/>
          <a:ext cx="4100874" cy="2391237"/>
        </p:xfrm>
        <a:graphic>
          <a:graphicData uri="http://schemas.openxmlformats.org/drawingml/2006/chart">
            <c:chart xmlns:c="http://schemas.openxmlformats.org/drawingml/2006/chart" xmlns:r="http://schemas.openxmlformats.org/officeDocument/2006/relationships" r:id="rId12"/>
          </a:graphicData>
        </a:graphic>
      </p:graphicFrame>
      <p:sp>
        <p:nvSpPr>
          <p:cNvPr id="89" name="Rectangle 88">
            <a:extLst>
              <a:ext uri="{FF2B5EF4-FFF2-40B4-BE49-F238E27FC236}">
                <a16:creationId xmlns:a16="http://schemas.microsoft.com/office/drawing/2014/main" id="{A6DD3D30-FBA9-4459-AC6E-B8A22835C0F4}"/>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1306023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487995" y="1007653"/>
            <a:ext cx="7595253"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559376" y="-92011"/>
            <a:ext cx="2772000" cy="6172884"/>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3000">
                <a:srgbClr val="EAEDFF">
                  <a:alpha val="98000"/>
                </a:srgbClr>
              </a:gs>
              <a:gs pos="7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954254796"/>
              </p:ext>
            </p:extLst>
          </p:nvPr>
        </p:nvGraphicFramePr>
        <p:xfrm>
          <a:off x="6852315" y="3564847"/>
          <a:ext cx="5333608" cy="1363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3524366490"/>
              </p:ext>
            </p:extLst>
          </p:nvPr>
        </p:nvGraphicFramePr>
        <p:xfrm>
          <a:off x="6852315" y="2530098"/>
          <a:ext cx="5333608" cy="10342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8" name="Chart 97">
            <a:extLst>
              <a:ext uri="{FF2B5EF4-FFF2-40B4-BE49-F238E27FC236}">
                <a16:creationId xmlns:a16="http://schemas.microsoft.com/office/drawing/2014/main" id="{8352E3B5-080C-46DE-B7F7-0E64A6BA5CFE}"/>
              </a:ext>
            </a:extLst>
          </p:cNvPr>
          <p:cNvGraphicFramePr/>
          <p:nvPr>
            <p:extLst>
              <p:ext uri="{D42A27DB-BD31-4B8C-83A1-F6EECF244321}">
                <p14:modId xmlns:p14="http://schemas.microsoft.com/office/powerpoint/2010/main" val="4276903056"/>
              </p:ext>
            </p:extLst>
          </p:nvPr>
        </p:nvGraphicFramePr>
        <p:xfrm>
          <a:off x="6852315" y="1500972"/>
          <a:ext cx="5333608" cy="10342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Chart 81">
            <a:extLst>
              <a:ext uri="{FF2B5EF4-FFF2-40B4-BE49-F238E27FC236}">
                <a16:creationId xmlns:a16="http://schemas.microsoft.com/office/drawing/2014/main" id="{04923A61-1D39-41F3-A8F0-D03DA9F728D1}"/>
              </a:ext>
            </a:extLst>
          </p:cNvPr>
          <p:cNvGraphicFramePr/>
          <p:nvPr>
            <p:extLst>
              <p:ext uri="{D42A27DB-BD31-4B8C-83A1-F6EECF244321}">
                <p14:modId xmlns:p14="http://schemas.microsoft.com/office/powerpoint/2010/main" val="1772325438"/>
              </p:ext>
            </p:extLst>
          </p:nvPr>
        </p:nvGraphicFramePr>
        <p:xfrm>
          <a:off x="5858933" y="3564847"/>
          <a:ext cx="1002528"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9" name="Chart 88">
            <a:extLst>
              <a:ext uri="{FF2B5EF4-FFF2-40B4-BE49-F238E27FC236}">
                <a16:creationId xmlns:a16="http://schemas.microsoft.com/office/drawing/2014/main" id="{0E2077CD-6EAF-448B-A1EC-DFB76FC7707F}"/>
              </a:ext>
            </a:extLst>
          </p:cNvPr>
          <p:cNvGraphicFramePr/>
          <p:nvPr>
            <p:extLst>
              <p:ext uri="{D42A27DB-BD31-4B8C-83A1-F6EECF244321}">
                <p14:modId xmlns:p14="http://schemas.microsoft.com/office/powerpoint/2010/main" val="2296707982"/>
              </p:ext>
            </p:extLst>
          </p:nvPr>
        </p:nvGraphicFramePr>
        <p:xfrm>
          <a:off x="5858933" y="2530098"/>
          <a:ext cx="1002528" cy="10342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0" name="Chart 89">
            <a:extLst>
              <a:ext uri="{FF2B5EF4-FFF2-40B4-BE49-F238E27FC236}">
                <a16:creationId xmlns:a16="http://schemas.microsoft.com/office/drawing/2014/main" id="{782E0207-A19C-4E80-97CB-B2DFCC729850}"/>
              </a:ext>
            </a:extLst>
          </p:cNvPr>
          <p:cNvGraphicFramePr/>
          <p:nvPr>
            <p:extLst>
              <p:ext uri="{D42A27DB-BD31-4B8C-83A1-F6EECF244321}">
                <p14:modId xmlns:p14="http://schemas.microsoft.com/office/powerpoint/2010/main" val="32599379"/>
              </p:ext>
            </p:extLst>
          </p:nvPr>
        </p:nvGraphicFramePr>
        <p:xfrm>
          <a:off x="5858933" y="1500972"/>
          <a:ext cx="1002528" cy="1034264"/>
        </p:xfrm>
        <a:graphic>
          <a:graphicData uri="http://schemas.openxmlformats.org/drawingml/2006/chart">
            <c:chart xmlns:c="http://schemas.openxmlformats.org/drawingml/2006/chart" xmlns:r="http://schemas.openxmlformats.org/officeDocument/2006/relationships" r:id="rId8"/>
          </a:graphicData>
        </a:graphic>
      </p:graphicFrame>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Freeform: Shape 106">
            <a:extLst>
              <a:ext uri="{FF2B5EF4-FFF2-40B4-BE49-F238E27FC236}">
                <a16:creationId xmlns:a16="http://schemas.microsoft.com/office/drawing/2014/main" id="{620411A3-F2A3-40D7-97C5-9F59D25D860C}"/>
              </a:ext>
            </a:extLst>
          </p:cNvPr>
          <p:cNvSpPr/>
          <p:nvPr/>
        </p:nvSpPr>
        <p:spPr>
          <a:xfrm flipH="1">
            <a:off x="222240" y="2578987"/>
            <a:ext cx="4084718" cy="1100932"/>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43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108000" tIns="72000" rIns="108000" bIns="7200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RSSH/PP HRH-6: Percentage of facilities providing effective services</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19</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nvGraphicFramePr>
        <p:xfrm>
          <a:off x="815616" y="1474488"/>
          <a:ext cx="2940278" cy="2089874"/>
        </p:xfrm>
        <a:graphic>
          <a:graphicData uri="http://schemas.openxmlformats.org/drawingml/2006/chart">
            <c:chart xmlns:c="http://schemas.openxmlformats.org/drawingml/2006/chart" xmlns:r="http://schemas.openxmlformats.org/officeDocument/2006/relationships" r:id="rId11"/>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544242"/>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487995" y="1028071"/>
            <a:ext cx="7493121" cy="523220"/>
          </a:xfrm>
          <a:prstGeom prst="rect">
            <a:avLst/>
          </a:prstGeom>
          <a:noFill/>
        </p:spPr>
        <p:txBody>
          <a:bodyPr wrap="square" rtlCol="0">
            <a:spAutoFit/>
          </a:bodyPr>
          <a:lstStyle>
            <a:defPPr>
              <a:defRPr lang="en-US"/>
            </a:defPPr>
            <a:lvl1pPr>
              <a:spcBef>
                <a:spcPts val="600"/>
              </a:spcBef>
              <a:spcAft>
                <a:spcPts val="600"/>
              </a:spcAft>
              <a:defRPr sz="1400" b="1"/>
            </a:lvl1pPr>
          </a:lstStyle>
          <a:p>
            <a:r>
              <a:rPr lang="en-GB" dirty="0"/>
              <a:t>Average for indicator and dimensions for </a:t>
            </a:r>
            <a:r>
              <a:rPr lang="en-GB" sz="1400" b="1" dirty="0"/>
              <a:t>the 7-component facility composite score by facility levels</a:t>
            </a:r>
            <a:endParaRPr lang="en-GB" dirty="0"/>
          </a:p>
        </p:txBody>
      </p:sp>
      <p:sp>
        <p:nvSpPr>
          <p:cNvPr id="86" name="Rectangle 85">
            <a:extLst>
              <a:ext uri="{FF2B5EF4-FFF2-40B4-BE49-F238E27FC236}">
                <a16:creationId xmlns:a16="http://schemas.microsoft.com/office/drawing/2014/main" id="{12A7A32F-2A00-4722-97C2-3FCEDB47A07D}"/>
              </a:ext>
            </a:extLst>
          </p:cNvPr>
          <p:cNvSpPr/>
          <p:nvPr/>
        </p:nvSpPr>
        <p:spPr>
          <a:xfrm>
            <a:off x="4499537" y="4940415"/>
            <a:ext cx="7583711" cy="1527531"/>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300"/>
              </a:spcBef>
              <a:spcAft>
                <a:spcPts val="300"/>
              </a:spcAft>
              <a:buFont typeface="Wingdings" panose="05000000000000000000" pitchFamily="2" charset="2"/>
              <a:buChar char="§"/>
            </a:pPr>
            <a:r>
              <a:rPr lang="en-US" sz="1200" dirty="0">
                <a:solidFill>
                  <a:schemeClr val="tx1"/>
                </a:solidFill>
              </a:rPr>
              <a:t>The facility composite score was relatively high in Malawi with a country average of 70. ANC dropout rate was the attribute with the worst performance with DPT dropout being the highest attribute. This indicates the strength of the immunization program and the potential weakness of ante-natal care especially at primary levels</a:t>
            </a:r>
          </a:p>
          <a:p>
            <a:pPr marL="171450" indent="-171450">
              <a:spcBef>
                <a:spcPts val="300"/>
              </a:spcBef>
              <a:spcAft>
                <a:spcPts val="300"/>
              </a:spcAft>
              <a:buFont typeface="Wingdings" panose="05000000000000000000" pitchFamily="2" charset="2"/>
              <a:buChar char="§"/>
            </a:pPr>
            <a:r>
              <a:rPr lang="en-US" sz="1200" dirty="0">
                <a:solidFill>
                  <a:schemeClr val="tx1"/>
                </a:solidFill>
              </a:rPr>
              <a:t>Country averages were relatively similar between the different service levels. However, there are notable differences between the different levels for patient caseloads, ANC dropout, DPT dropout, and ART retention</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and dimensions for the 7-component facility composite score</a:t>
            </a:r>
          </a:p>
        </p:txBody>
      </p:sp>
      <p:grpSp>
        <p:nvGrpSpPr>
          <p:cNvPr id="94" name="Group 93">
            <a:extLst>
              <a:ext uri="{FF2B5EF4-FFF2-40B4-BE49-F238E27FC236}">
                <a16:creationId xmlns:a16="http://schemas.microsoft.com/office/drawing/2014/main" id="{FE6BA20B-9966-443D-92FF-2143FF2B2F51}"/>
              </a:ext>
            </a:extLst>
          </p:cNvPr>
          <p:cNvGrpSpPr/>
          <p:nvPr/>
        </p:nvGrpSpPr>
        <p:grpSpPr>
          <a:xfrm>
            <a:off x="448799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487995"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47827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288593"/>
            <a:ext cx="622433" cy="461665"/>
          </a:xfrm>
          <a:prstGeom prst="rect">
            <a:avLst/>
          </a:prstGeom>
          <a:noFill/>
        </p:spPr>
        <p:txBody>
          <a:bodyPr wrap="square" rtlCol="0">
            <a:spAutoFit/>
          </a:bodyPr>
          <a:lstStyle/>
          <a:p>
            <a:pPr algn="ctr">
              <a:spcBef>
                <a:spcPts val="600"/>
              </a:spcBef>
              <a:spcAft>
                <a:spcPts val="600"/>
              </a:spcAft>
            </a:pPr>
            <a:r>
              <a:rPr lang="en-GB" sz="2400" b="1" dirty="0"/>
              <a:t>70</a:t>
            </a:r>
          </a:p>
        </p:txBody>
      </p:sp>
      <p:graphicFrame>
        <p:nvGraphicFramePr>
          <p:cNvPr id="83" name="Chart 82">
            <a:extLst>
              <a:ext uri="{FF2B5EF4-FFF2-40B4-BE49-F238E27FC236}">
                <a16:creationId xmlns:a16="http://schemas.microsoft.com/office/drawing/2014/main" id="{C3794453-990D-4BB6-87FA-978BDCEF7793}"/>
              </a:ext>
            </a:extLst>
          </p:cNvPr>
          <p:cNvGraphicFramePr/>
          <p:nvPr>
            <p:extLst>
              <p:ext uri="{D42A27DB-BD31-4B8C-83A1-F6EECF244321}">
                <p14:modId xmlns:p14="http://schemas.microsoft.com/office/powerpoint/2010/main" val="1711940718"/>
              </p:ext>
            </p:extLst>
          </p:nvPr>
        </p:nvGraphicFramePr>
        <p:xfrm>
          <a:off x="248397" y="3679919"/>
          <a:ext cx="4100874" cy="25526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102578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AC8A4-40A2-4B34-8B36-32FEC2C3950E}"/>
              </a:ext>
            </a:extLst>
          </p:cNvPr>
          <p:cNvSpPr>
            <a:spLocks noGrp="1"/>
          </p:cNvSpPr>
          <p:nvPr>
            <p:ph type="title"/>
          </p:nvPr>
        </p:nvSpPr>
        <p:spPr>
          <a:xfrm>
            <a:off x="359388" y="199253"/>
            <a:ext cx="11473224" cy="730788"/>
          </a:xfrm>
        </p:spPr>
        <p:txBody>
          <a:bodyPr/>
          <a:lstStyle/>
          <a:p>
            <a:r>
              <a:rPr lang="en-US" sz="3600" dirty="0"/>
              <a:t>Introduction</a:t>
            </a:r>
          </a:p>
        </p:txBody>
      </p:sp>
      <p:sp>
        <p:nvSpPr>
          <p:cNvPr id="6" name="Title 3">
            <a:extLst>
              <a:ext uri="{FF2B5EF4-FFF2-40B4-BE49-F238E27FC236}">
                <a16:creationId xmlns:a16="http://schemas.microsoft.com/office/drawing/2014/main" id="{75791142-C7FF-45BD-B77F-8F70C8EFFA62}"/>
              </a:ext>
            </a:extLst>
          </p:cNvPr>
          <p:cNvSpPr txBox="1">
            <a:spLocks/>
          </p:cNvSpPr>
          <p:nvPr/>
        </p:nvSpPr>
        <p:spPr>
          <a:xfrm>
            <a:off x="359388" y="716455"/>
            <a:ext cx="11120044" cy="30471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a:defRPr/>
            </a:pPr>
            <a:endParaRPr lang="en-US" sz="1500" dirty="0">
              <a:latin typeface="Arial Black"/>
              <a:ea typeface="+mn-ea"/>
              <a:cs typeface="+mn-cs"/>
            </a:endParaRPr>
          </a:p>
        </p:txBody>
      </p:sp>
      <p:sp>
        <p:nvSpPr>
          <p:cNvPr id="4" name="Slide Number Placeholder 3">
            <a:extLst>
              <a:ext uri="{FF2B5EF4-FFF2-40B4-BE49-F238E27FC236}">
                <a16:creationId xmlns:a16="http://schemas.microsoft.com/office/drawing/2014/main" id="{D6DE02DF-E7C4-5487-D479-D3FED4878982}"/>
              </a:ext>
            </a:extLst>
          </p:cNvPr>
          <p:cNvSpPr>
            <a:spLocks noGrp="1"/>
          </p:cNvSpPr>
          <p:nvPr>
            <p:ph type="sldNum" sz="quarter" idx="12"/>
          </p:nvPr>
        </p:nvSpPr>
        <p:spPr/>
        <p:txBody>
          <a:bodyPr/>
          <a:lstStyle/>
          <a:p>
            <a:fld id="{9E2BE927-25C7-4379-86F1-C17ED9D2A7F2}" type="slidenum">
              <a:rPr lang="en-US" smtClean="0"/>
              <a:t>2</a:t>
            </a:fld>
            <a:endParaRPr lang="en-US"/>
          </a:p>
        </p:txBody>
      </p:sp>
      <p:sp>
        <p:nvSpPr>
          <p:cNvPr id="7" name="Rectangle 6">
            <a:extLst>
              <a:ext uri="{FF2B5EF4-FFF2-40B4-BE49-F238E27FC236}">
                <a16:creationId xmlns:a16="http://schemas.microsoft.com/office/drawing/2014/main" id="{58251425-4606-F38C-BCE6-960C5774FBBB}"/>
              </a:ext>
            </a:extLst>
          </p:cNvPr>
          <p:cNvSpPr/>
          <p:nvPr/>
        </p:nvSpPr>
        <p:spPr>
          <a:xfrm>
            <a:off x="2359152" y="2103120"/>
            <a:ext cx="4416552" cy="265176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rPr>
              <a:t>Objectives of Spot-checks &amp; </a:t>
            </a:r>
            <a:r>
              <a:rPr lang="en-US" sz="1200" dirty="0" err="1">
                <a:solidFill>
                  <a:schemeClr val="tx1"/>
                </a:solidFill>
              </a:rPr>
              <a:t>tHFA</a:t>
            </a: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Process - Steps involved &amp; where we are now…</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Technical details – We went to Sampled facilities, (# of HFs) with select, tracers list (# of tracers), &amp; also at central level and following 5 indicators assessed for performance</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Why – Shift in TGF strategy to focus on IPCQS, community health. Collecting performance framework metrics to monitor progress</a:t>
            </a: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067929794"/>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487995" y="1007653"/>
            <a:ext cx="7595253"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925559" y="274172"/>
            <a:ext cx="2772000" cy="5440518"/>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3000">
                <a:srgbClr val="EAEDFF">
                  <a:alpha val="98000"/>
                </a:srgbClr>
              </a:gs>
              <a:gs pos="7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92" name="Chart 91">
            <a:extLst>
              <a:ext uri="{FF2B5EF4-FFF2-40B4-BE49-F238E27FC236}">
                <a16:creationId xmlns:a16="http://schemas.microsoft.com/office/drawing/2014/main" id="{AD37689D-10D0-4E81-960F-6B0407AA942D}"/>
              </a:ext>
            </a:extLst>
          </p:cNvPr>
          <p:cNvGraphicFramePr/>
          <p:nvPr>
            <p:extLst>
              <p:ext uri="{D42A27DB-BD31-4B8C-83A1-F6EECF244321}">
                <p14:modId xmlns:p14="http://schemas.microsoft.com/office/powerpoint/2010/main" val="1728646124"/>
              </p:ext>
            </p:extLst>
          </p:nvPr>
        </p:nvGraphicFramePr>
        <p:xfrm>
          <a:off x="7518400" y="3564847"/>
          <a:ext cx="4667522" cy="1363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extLst>
              <p:ext uri="{D42A27DB-BD31-4B8C-83A1-F6EECF244321}">
                <p14:modId xmlns:p14="http://schemas.microsoft.com/office/powerpoint/2010/main" val="4223942556"/>
              </p:ext>
            </p:extLst>
          </p:nvPr>
        </p:nvGraphicFramePr>
        <p:xfrm>
          <a:off x="7518400" y="2530098"/>
          <a:ext cx="4667522" cy="10342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8" name="Chart 97">
            <a:extLst>
              <a:ext uri="{FF2B5EF4-FFF2-40B4-BE49-F238E27FC236}">
                <a16:creationId xmlns:a16="http://schemas.microsoft.com/office/drawing/2014/main" id="{8352E3B5-080C-46DE-B7F7-0E64A6BA5CFE}"/>
              </a:ext>
            </a:extLst>
          </p:cNvPr>
          <p:cNvGraphicFramePr/>
          <p:nvPr>
            <p:extLst>
              <p:ext uri="{D42A27DB-BD31-4B8C-83A1-F6EECF244321}">
                <p14:modId xmlns:p14="http://schemas.microsoft.com/office/powerpoint/2010/main" val="416916496"/>
              </p:ext>
            </p:extLst>
          </p:nvPr>
        </p:nvGraphicFramePr>
        <p:xfrm>
          <a:off x="7518400" y="1500972"/>
          <a:ext cx="4667522" cy="10342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Chart 81">
            <a:extLst>
              <a:ext uri="{FF2B5EF4-FFF2-40B4-BE49-F238E27FC236}">
                <a16:creationId xmlns:a16="http://schemas.microsoft.com/office/drawing/2014/main" id="{04923A61-1D39-41F3-A8F0-D03DA9F728D1}"/>
              </a:ext>
            </a:extLst>
          </p:cNvPr>
          <p:cNvGraphicFramePr/>
          <p:nvPr>
            <p:extLst>
              <p:ext uri="{D42A27DB-BD31-4B8C-83A1-F6EECF244321}">
                <p14:modId xmlns:p14="http://schemas.microsoft.com/office/powerpoint/2010/main" val="3362777827"/>
              </p:ext>
            </p:extLst>
          </p:nvPr>
        </p:nvGraphicFramePr>
        <p:xfrm>
          <a:off x="5909731" y="3564847"/>
          <a:ext cx="1471951"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9" name="Chart 88">
            <a:extLst>
              <a:ext uri="{FF2B5EF4-FFF2-40B4-BE49-F238E27FC236}">
                <a16:creationId xmlns:a16="http://schemas.microsoft.com/office/drawing/2014/main" id="{0E2077CD-6EAF-448B-A1EC-DFB76FC7707F}"/>
              </a:ext>
            </a:extLst>
          </p:cNvPr>
          <p:cNvGraphicFramePr/>
          <p:nvPr>
            <p:extLst>
              <p:ext uri="{D42A27DB-BD31-4B8C-83A1-F6EECF244321}">
                <p14:modId xmlns:p14="http://schemas.microsoft.com/office/powerpoint/2010/main" val="1630330848"/>
              </p:ext>
            </p:extLst>
          </p:nvPr>
        </p:nvGraphicFramePr>
        <p:xfrm>
          <a:off x="5909731" y="2530098"/>
          <a:ext cx="1471951" cy="10342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0" name="Chart 89">
            <a:extLst>
              <a:ext uri="{FF2B5EF4-FFF2-40B4-BE49-F238E27FC236}">
                <a16:creationId xmlns:a16="http://schemas.microsoft.com/office/drawing/2014/main" id="{782E0207-A19C-4E80-97CB-B2DFCC729850}"/>
              </a:ext>
            </a:extLst>
          </p:cNvPr>
          <p:cNvGraphicFramePr/>
          <p:nvPr>
            <p:extLst>
              <p:ext uri="{D42A27DB-BD31-4B8C-83A1-F6EECF244321}">
                <p14:modId xmlns:p14="http://schemas.microsoft.com/office/powerpoint/2010/main" val="775379092"/>
              </p:ext>
            </p:extLst>
          </p:nvPr>
        </p:nvGraphicFramePr>
        <p:xfrm>
          <a:off x="5909731" y="1500972"/>
          <a:ext cx="1471951" cy="1034264"/>
        </p:xfrm>
        <a:graphic>
          <a:graphicData uri="http://schemas.openxmlformats.org/drawingml/2006/chart">
            <c:chart xmlns:c="http://schemas.openxmlformats.org/drawingml/2006/chart" xmlns:r="http://schemas.openxmlformats.org/officeDocument/2006/relationships" r:id="rId8"/>
          </a:graphicData>
        </a:graphic>
      </p:graphicFrame>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3920602"/>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108000" tIns="72000" rIns="108000" bIns="7200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RSSH/PP HRH-3: Percentage of community health workers remunerated on time and in-full every month during the reporting period</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20</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extLst>
              <p:ext uri="{D42A27DB-BD31-4B8C-83A1-F6EECF244321}">
                <p14:modId xmlns:p14="http://schemas.microsoft.com/office/powerpoint/2010/main" val="3009428434"/>
              </p:ext>
            </p:extLst>
          </p:nvPr>
        </p:nvGraphicFramePr>
        <p:xfrm>
          <a:off x="538462" y="1691161"/>
          <a:ext cx="3494586" cy="2849944"/>
        </p:xfrm>
        <a:graphic>
          <a:graphicData uri="http://schemas.openxmlformats.org/drawingml/2006/chart">
            <c:chart xmlns:c="http://schemas.openxmlformats.org/drawingml/2006/chart" xmlns:r="http://schemas.openxmlformats.org/officeDocument/2006/relationships" r:id="rId11"/>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544242"/>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487995" y="1028071"/>
            <a:ext cx="7493121" cy="523220"/>
          </a:xfrm>
          <a:prstGeom prst="rect">
            <a:avLst/>
          </a:prstGeom>
          <a:noFill/>
        </p:spPr>
        <p:txBody>
          <a:bodyPr wrap="square" rtlCol="0">
            <a:spAutoFit/>
          </a:bodyPr>
          <a:lstStyle>
            <a:defPPr>
              <a:defRPr lang="en-US"/>
            </a:defPPr>
            <a:lvl1pPr>
              <a:spcBef>
                <a:spcPts val="600"/>
              </a:spcBef>
              <a:spcAft>
                <a:spcPts val="600"/>
              </a:spcAft>
              <a:defRPr sz="1400" b="1"/>
            </a:lvl1pPr>
          </a:lstStyle>
          <a:p>
            <a:r>
              <a:rPr lang="en-GB" dirty="0"/>
              <a:t>Average for indicator </a:t>
            </a:r>
            <a:r>
              <a:rPr lang="en-GB" sz="1400" b="1" dirty="0"/>
              <a:t>for CHW renumeration on time by facility levels and setting of facility </a:t>
            </a:r>
            <a:endParaRPr lang="en-GB" dirty="0"/>
          </a:p>
        </p:txBody>
      </p:sp>
      <p:sp>
        <p:nvSpPr>
          <p:cNvPr id="86" name="Rectangle 85">
            <a:extLst>
              <a:ext uri="{FF2B5EF4-FFF2-40B4-BE49-F238E27FC236}">
                <a16:creationId xmlns:a16="http://schemas.microsoft.com/office/drawing/2014/main" id="{12A7A32F-2A00-4722-97C2-3FCEDB47A07D}"/>
              </a:ext>
            </a:extLst>
          </p:cNvPr>
          <p:cNvSpPr/>
          <p:nvPr/>
        </p:nvSpPr>
        <p:spPr>
          <a:xfrm>
            <a:off x="538462" y="4994065"/>
            <a:ext cx="10979087" cy="1189334"/>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300"/>
              </a:spcBef>
              <a:spcAft>
                <a:spcPts val="300"/>
              </a:spcAft>
              <a:buFont typeface="Wingdings" panose="05000000000000000000" pitchFamily="2" charset="2"/>
              <a:buChar char="§"/>
            </a:pPr>
            <a:r>
              <a:rPr lang="en-US" sz="1200" dirty="0" err="1">
                <a:solidFill>
                  <a:schemeClr val="tx1"/>
                </a:solidFill>
              </a:rPr>
              <a:t>Xxxxxxxx</a:t>
            </a:r>
            <a:endParaRPr lang="en-US" sz="1200" dirty="0">
              <a:solidFill>
                <a:schemeClr val="tx1"/>
              </a:solidFill>
            </a:endParaRPr>
          </a:p>
          <a:p>
            <a:pPr marL="171450" indent="-171450">
              <a:spcBef>
                <a:spcPts val="300"/>
              </a:spcBef>
              <a:spcAft>
                <a:spcPts val="300"/>
              </a:spcAft>
              <a:buFont typeface="Wingdings" panose="05000000000000000000" pitchFamily="2" charset="2"/>
              <a:buChar char="§"/>
            </a:pPr>
            <a:r>
              <a:rPr lang="en-US" sz="1200" dirty="0" err="1">
                <a:solidFill>
                  <a:schemeClr val="tx1"/>
                </a:solidFill>
              </a:rPr>
              <a:t>Xxxxxx</a:t>
            </a:r>
            <a:endParaRPr lang="en-US" sz="1200" dirty="0">
              <a:solidFill>
                <a:schemeClr val="tx1"/>
              </a:solidFill>
            </a:endParaRP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for CHW renumeration on time &amp; in full</a:t>
            </a:r>
          </a:p>
        </p:txBody>
      </p:sp>
      <p:grpSp>
        <p:nvGrpSpPr>
          <p:cNvPr id="94" name="Group 93">
            <a:extLst>
              <a:ext uri="{FF2B5EF4-FFF2-40B4-BE49-F238E27FC236}">
                <a16:creationId xmlns:a16="http://schemas.microsoft.com/office/drawing/2014/main" id="{FE6BA20B-9966-443D-92FF-2143FF2B2F51}"/>
              </a:ext>
            </a:extLst>
          </p:cNvPr>
          <p:cNvGrpSpPr/>
          <p:nvPr/>
        </p:nvGrpSpPr>
        <p:grpSpPr>
          <a:xfrm>
            <a:off x="4589593"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589593"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579871"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885301"/>
            <a:ext cx="622433" cy="461665"/>
          </a:xfrm>
          <a:prstGeom prst="rect">
            <a:avLst/>
          </a:prstGeom>
          <a:noFill/>
        </p:spPr>
        <p:txBody>
          <a:bodyPr wrap="square" rtlCol="0">
            <a:spAutoFit/>
          </a:bodyPr>
          <a:lstStyle/>
          <a:p>
            <a:pPr algn="ctr">
              <a:spcBef>
                <a:spcPts val="600"/>
              </a:spcBef>
              <a:spcAft>
                <a:spcPts val="600"/>
              </a:spcAft>
            </a:pPr>
            <a:r>
              <a:rPr lang="en-GB" sz="2400" b="1" dirty="0"/>
              <a:t>70</a:t>
            </a:r>
          </a:p>
        </p:txBody>
      </p:sp>
      <p:sp>
        <p:nvSpPr>
          <p:cNvPr id="95" name="Rectangle 94">
            <a:extLst>
              <a:ext uri="{FF2B5EF4-FFF2-40B4-BE49-F238E27FC236}">
                <a16:creationId xmlns:a16="http://schemas.microsoft.com/office/drawing/2014/main" id="{092B6718-B2B3-47EA-A901-141890A01252}"/>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544316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487995" y="1007653"/>
            <a:ext cx="7595253"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925559" y="274172"/>
            <a:ext cx="2772000" cy="5440518"/>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3000">
                <a:srgbClr val="EAEDFF">
                  <a:alpha val="98000"/>
                </a:srgbClr>
              </a:gs>
              <a:gs pos="7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92" name="Chart 91">
            <a:extLst>
              <a:ext uri="{FF2B5EF4-FFF2-40B4-BE49-F238E27FC236}">
                <a16:creationId xmlns:a16="http://schemas.microsoft.com/office/drawing/2014/main" id="{AD37689D-10D0-4E81-960F-6B0407AA942D}"/>
              </a:ext>
            </a:extLst>
          </p:cNvPr>
          <p:cNvGraphicFramePr/>
          <p:nvPr/>
        </p:nvGraphicFramePr>
        <p:xfrm>
          <a:off x="7518400" y="3564847"/>
          <a:ext cx="4667522" cy="1363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nvGraphicFramePr>
        <p:xfrm>
          <a:off x="7518400" y="2530098"/>
          <a:ext cx="4667522" cy="10342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8" name="Chart 97">
            <a:extLst>
              <a:ext uri="{FF2B5EF4-FFF2-40B4-BE49-F238E27FC236}">
                <a16:creationId xmlns:a16="http://schemas.microsoft.com/office/drawing/2014/main" id="{8352E3B5-080C-46DE-B7F7-0E64A6BA5CFE}"/>
              </a:ext>
            </a:extLst>
          </p:cNvPr>
          <p:cNvGraphicFramePr/>
          <p:nvPr/>
        </p:nvGraphicFramePr>
        <p:xfrm>
          <a:off x="7518400" y="1500972"/>
          <a:ext cx="4667522" cy="10342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Chart 81">
            <a:extLst>
              <a:ext uri="{FF2B5EF4-FFF2-40B4-BE49-F238E27FC236}">
                <a16:creationId xmlns:a16="http://schemas.microsoft.com/office/drawing/2014/main" id="{04923A61-1D39-41F3-A8F0-D03DA9F728D1}"/>
              </a:ext>
            </a:extLst>
          </p:cNvPr>
          <p:cNvGraphicFramePr/>
          <p:nvPr/>
        </p:nvGraphicFramePr>
        <p:xfrm>
          <a:off x="5909731" y="3564847"/>
          <a:ext cx="1471951"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9" name="Chart 88">
            <a:extLst>
              <a:ext uri="{FF2B5EF4-FFF2-40B4-BE49-F238E27FC236}">
                <a16:creationId xmlns:a16="http://schemas.microsoft.com/office/drawing/2014/main" id="{0E2077CD-6EAF-448B-A1EC-DFB76FC7707F}"/>
              </a:ext>
            </a:extLst>
          </p:cNvPr>
          <p:cNvGraphicFramePr/>
          <p:nvPr/>
        </p:nvGraphicFramePr>
        <p:xfrm>
          <a:off x="5909731" y="2530098"/>
          <a:ext cx="1471951" cy="10342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0" name="Chart 89">
            <a:extLst>
              <a:ext uri="{FF2B5EF4-FFF2-40B4-BE49-F238E27FC236}">
                <a16:creationId xmlns:a16="http://schemas.microsoft.com/office/drawing/2014/main" id="{782E0207-A19C-4E80-97CB-B2DFCC729850}"/>
              </a:ext>
            </a:extLst>
          </p:cNvPr>
          <p:cNvGraphicFramePr/>
          <p:nvPr/>
        </p:nvGraphicFramePr>
        <p:xfrm>
          <a:off x="5909731" y="1500972"/>
          <a:ext cx="1471951" cy="1034264"/>
        </p:xfrm>
        <a:graphic>
          <a:graphicData uri="http://schemas.openxmlformats.org/drawingml/2006/chart">
            <c:chart xmlns:c="http://schemas.openxmlformats.org/drawingml/2006/chart" xmlns:r="http://schemas.openxmlformats.org/officeDocument/2006/relationships" r:id="rId8"/>
          </a:graphicData>
        </a:graphic>
      </p:graphicFrame>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3920602"/>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181236" cy="895850"/>
          </a:xfrm>
          <a:prstGeom prst="rect">
            <a:avLst/>
          </a:prstGeom>
          <a:solidFill>
            <a:schemeClr val="accent1">
              <a:lumMod val="20000"/>
              <a:lumOff val="80000"/>
            </a:schemeClr>
          </a:solidFill>
        </p:spPr>
        <p:txBody>
          <a:bodyPr vert="horz" lIns="108000" tIns="72000" rIns="108000" bIns="7200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CSS-3: Percentage of health service delivery sites with a community-led monitoring mechanism in place</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21</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nvGraphicFramePr>
        <p:xfrm>
          <a:off x="538462" y="1691161"/>
          <a:ext cx="3494586" cy="2849944"/>
        </p:xfrm>
        <a:graphic>
          <a:graphicData uri="http://schemas.openxmlformats.org/drawingml/2006/chart">
            <c:chart xmlns:c="http://schemas.openxmlformats.org/drawingml/2006/chart" xmlns:r="http://schemas.openxmlformats.org/officeDocument/2006/relationships" r:id="rId11"/>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544242"/>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487995" y="1028071"/>
            <a:ext cx="7493121" cy="523220"/>
          </a:xfrm>
          <a:prstGeom prst="rect">
            <a:avLst/>
          </a:prstGeom>
          <a:noFill/>
        </p:spPr>
        <p:txBody>
          <a:bodyPr wrap="square" rtlCol="0">
            <a:spAutoFit/>
          </a:bodyPr>
          <a:lstStyle>
            <a:defPPr>
              <a:defRPr lang="en-US"/>
            </a:defPPr>
            <a:lvl1pPr>
              <a:spcBef>
                <a:spcPts val="600"/>
              </a:spcBef>
              <a:spcAft>
                <a:spcPts val="600"/>
              </a:spcAft>
              <a:defRPr sz="1400" b="1"/>
            </a:lvl1pPr>
          </a:lstStyle>
          <a:p>
            <a:r>
              <a:rPr lang="en-GB" dirty="0"/>
              <a:t>Average for indicator </a:t>
            </a:r>
            <a:r>
              <a:rPr lang="en-GB" sz="1400" b="1" dirty="0"/>
              <a:t>for community-led monitoring in place by facility levels and setting of facility </a:t>
            </a:r>
            <a:endParaRPr lang="en-GB" dirty="0"/>
          </a:p>
        </p:txBody>
      </p:sp>
      <p:sp>
        <p:nvSpPr>
          <p:cNvPr id="86" name="Rectangle 85">
            <a:extLst>
              <a:ext uri="{FF2B5EF4-FFF2-40B4-BE49-F238E27FC236}">
                <a16:creationId xmlns:a16="http://schemas.microsoft.com/office/drawing/2014/main" id="{12A7A32F-2A00-4722-97C2-3FCEDB47A07D}"/>
              </a:ext>
            </a:extLst>
          </p:cNvPr>
          <p:cNvSpPr/>
          <p:nvPr/>
        </p:nvSpPr>
        <p:spPr>
          <a:xfrm>
            <a:off x="538462" y="4994065"/>
            <a:ext cx="10979087" cy="1189334"/>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300"/>
              </a:spcBef>
              <a:spcAft>
                <a:spcPts val="300"/>
              </a:spcAft>
              <a:buFont typeface="Wingdings" panose="05000000000000000000" pitchFamily="2" charset="2"/>
              <a:buChar char="§"/>
            </a:pPr>
            <a:r>
              <a:rPr lang="en-US" sz="1200" dirty="0" err="1">
                <a:solidFill>
                  <a:schemeClr val="tx1"/>
                </a:solidFill>
              </a:rPr>
              <a:t>Xxxxxxxx</a:t>
            </a:r>
            <a:endParaRPr lang="en-US" sz="1200" dirty="0">
              <a:solidFill>
                <a:schemeClr val="tx1"/>
              </a:solidFill>
            </a:endParaRPr>
          </a:p>
          <a:p>
            <a:pPr marL="171450" indent="-171450">
              <a:spcBef>
                <a:spcPts val="300"/>
              </a:spcBef>
              <a:spcAft>
                <a:spcPts val="300"/>
              </a:spcAft>
              <a:buFont typeface="Wingdings" panose="05000000000000000000" pitchFamily="2" charset="2"/>
              <a:buChar char="§"/>
            </a:pPr>
            <a:r>
              <a:rPr lang="en-US" sz="1200" dirty="0" err="1">
                <a:solidFill>
                  <a:schemeClr val="tx1"/>
                </a:solidFill>
              </a:rPr>
              <a:t>Xxxxxx</a:t>
            </a:r>
            <a:endParaRPr lang="en-US" sz="1200" dirty="0">
              <a:solidFill>
                <a:schemeClr val="tx1"/>
              </a:solidFill>
            </a:endParaRP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for community-led monitoring in place</a:t>
            </a:r>
          </a:p>
        </p:txBody>
      </p:sp>
      <p:grpSp>
        <p:nvGrpSpPr>
          <p:cNvPr id="94" name="Group 93">
            <a:extLst>
              <a:ext uri="{FF2B5EF4-FFF2-40B4-BE49-F238E27FC236}">
                <a16:creationId xmlns:a16="http://schemas.microsoft.com/office/drawing/2014/main" id="{FE6BA20B-9966-443D-92FF-2143FF2B2F51}"/>
              </a:ext>
            </a:extLst>
          </p:cNvPr>
          <p:cNvGrpSpPr/>
          <p:nvPr/>
        </p:nvGrpSpPr>
        <p:grpSpPr>
          <a:xfrm>
            <a:off x="4589593"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589593"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579871"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885301"/>
            <a:ext cx="622433" cy="461665"/>
          </a:xfrm>
          <a:prstGeom prst="rect">
            <a:avLst/>
          </a:prstGeom>
          <a:noFill/>
        </p:spPr>
        <p:txBody>
          <a:bodyPr wrap="square" rtlCol="0">
            <a:spAutoFit/>
          </a:bodyPr>
          <a:lstStyle/>
          <a:p>
            <a:pPr algn="ctr">
              <a:spcBef>
                <a:spcPts val="600"/>
              </a:spcBef>
              <a:spcAft>
                <a:spcPts val="600"/>
              </a:spcAft>
            </a:pPr>
            <a:r>
              <a:rPr lang="en-GB" sz="2400" b="1" dirty="0"/>
              <a:t>70</a:t>
            </a:r>
          </a:p>
        </p:txBody>
      </p:sp>
      <p:sp>
        <p:nvSpPr>
          <p:cNvPr id="83" name="Rectangle 82">
            <a:extLst>
              <a:ext uri="{FF2B5EF4-FFF2-40B4-BE49-F238E27FC236}">
                <a16:creationId xmlns:a16="http://schemas.microsoft.com/office/drawing/2014/main" id="{C7B9DE20-D7A6-4C2F-A94B-86848BE0C94A}"/>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2639389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F9166D16-B5C2-4579-8585-314BAB1CB8CA}"/>
              </a:ext>
            </a:extLst>
          </p:cNvPr>
          <p:cNvSpPr/>
          <p:nvPr/>
        </p:nvSpPr>
        <p:spPr>
          <a:xfrm>
            <a:off x="4487995" y="1007653"/>
            <a:ext cx="7595253" cy="3920603"/>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Freeform: Shape 110">
            <a:extLst>
              <a:ext uri="{FF2B5EF4-FFF2-40B4-BE49-F238E27FC236}">
                <a16:creationId xmlns:a16="http://schemas.microsoft.com/office/drawing/2014/main" id="{6F4A9B62-AB22-4DB0-AFC7-418C400C3466}"/>
              </a:ext>
            </a:extLst>
          </p:cNvPr>
          <p:cNvSpPr/>
          <p:nvPr/>
        </p:nvSpPr>
        <p:spPr>
          <a:xfrm rot="16200000" flipH="1">
            <a:off x="7559376" y="-92011"/>
            <a:ext cx="2772000" cy="6172884"/>
          </a:xfrm>
          <a:custGeom>
            <a:avLst/>
            <a:gdLst>
              <a:gd name="connsiteX0" fmla="*/ 0 w 2772000"/>
              <a:gd name="connsiteY0" fmla="*/ 918634 h 5260886"/>
              <a:gd name="connsiteX1" fmla="*/ 0 w 2772000"/>
              <a:gd name="connsiteY1" fmla="*/ 5260886 h 5260886"/>
              <a:gd name="connsiteX2" fmla="*/ 2772000 w 2772000"/>
              <a:gd name="connsiteY2" fmla="*/ 5260886 h 5260886"/>
              <a:gd name="connsiteX3" fmla="*/ 2772000 w 2772000"/>
              <a:gd name="connsiteY3" fmla="*/ 924983 h 5260886"/>
              <a:gd name="connsiteX4" fmla="*/ 2772000 w 2772000"/>
              <a:gd name="connsiteY4" fmla="*/ 924983 h 5260886"/>
              <a:gd name="connsiteX5" fmla="*/ 2772000 w 2772000"/>
              <a:gd name="connsiteY5" fmla="*/ 924983 h 5260886"/>
              <a:gd name="connsiteX6" fmla="*/ 2772000 w 2772000"/>
              <a:gd name="connsiteY6" fmla="*/ 918633 h 5260886"/>
              <a:gd name="connsiteX7" fmla="*/ 2739638 w 2772000"/>
              <a:gd name="connsiteY7" fmla="*/ 918633 h 5260886"/>
              <a:gd name="connsiteX8" fmla="*/ 1923495 w 2772000"/>
              <a:gd name="connsiteY8" fmla="*/ 758507 h 5260886"/>
              <a:gd name="connsiteX9" fmla="*/ 1923495 w 2772000"/>
              <a:gd name="connsiteY9" fmla="*/ 0 h 5260886"/>
              <a:gd name="connsiteX10" fmla="*/ 796260 w 2772000"/>
              <a:gd name="connsiteY10" fmla="*/ 0 h 5260886"/>
              <a:gd name="connsiteX11" fmla="*/ 796260 w 2772000"/>
              <a:gd name="connsiteY11" fmla="*/ 762132 h 5260886"/>
              <a:gd name="connsiteX12" fmla="*/ 31046 w 2772000"/>
              <a:gd name="connsiteY12" fmla="*/ 918634 h 52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2000" h="5260886">
                <a:moveTo>
                  <a:pt x="0" y="918634"/>
                </a:moveTo>
                <a:lnTo>
                  <a:pt x="0" y="5260886"/>
                </a:lnTo>
                <a:lnTo>
                  <a:pt x="2772000" y="5260886"/>
                </a:lnTo>
                <a:lnTo>
                  <a:pt x="2772000" y="924983"/>
                </a:lnTo>
                <a:lnTo>
                  <a:pt x="2772000" y="924983"/>
                </a:lnTo>
                <a:lnTo>
                  <a:pt x="2772000" y="924983"/>
                </a:lnTo>
                <a:lnTo>
                  <a:pt x="2772000" y="918633"/>
                </a:lnTo>
                <a:lnTo>
                  <a:pt x="2739638" y="918633"/>
                </a:lnTo>
                <a:lnTo>
                  <a:pt x="1923495" y="758507"/>
                </a:lnTo>
                <a:lnTo>
                  <a:pt x="1923495" y="0"/>
                </a:lnTo>
                <a:lnTo>
                  <a:pt x="796260" y="0"/>
                </a:lnTo>
                <a:lnTo>
                  <a:pt x="796260" y="762132"/>
                </a:lnTo>
                <a:lnTo>
                  <a:pt x="31046" y="918634"/>
                </a:lnTo>
                <a:close/>
              </a:path>
            </a:pathLst>
          </a:custGeom>
          <a:gradFill>
            <a:gsLst>
              <a:gs pos="59000">
                <a:srgbClr val="DBE0FE">
                  <a:alpha val="89000"/>
                </a:srgbClr>
              </a:gs>
              <a:gs pos="100000">
                <a:schemeClr val="accent2">
                  <a:lumMod val="20000"/>
                  <a:lumOff val="80000"/>
                </a:schemeClr>
              </a:gs>
              <a:gs pos="13000">
                <a:srgbClr val="EAEDFF">
                  <a:alpha val="98000"/>
                </a:srgbClr>
              </a:gs>
              <a:gs pos="7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92" name="Chart 91">
            <a:extLst>
              <a:ext uri="{FF2B5EF4-FFF2-40B4-BE49-F238E27FC236}">
                <a16:creationId xmlns:a16="http://schemas.microsoft.com/office/drawing/2014/main" id="{AD37689D-10D0-4E81-960F-6B0407AA942D}"/>
              </a:ext>
            </a:extLst>
          </p:cNvPr>
          <p:cNvGraphicFramePr/>
          <p:nvPr/>
        </p:nvGraphicFramePr>
        <p:xfrm>
          <a:off x="6852315" y="3564847"/>
          <a:ext cx="5333608" cy="1363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3" name="Chart 92">
            <a:extLst>
              <a:ext uri="{FF2B5EF4-FFF2-40B4-BE49-F238E27FC236}">
                <a16:creationId xmlns:a16="http://schemas.microsoft.com/office/drawing/2014/main" id="{CB7D7731-E58B-4B18-87F3-9B276552B57F}"/>
              </a:ext>
            </a:extLst>
          </p:cNvPr>
          <p:cNvGraphicFramePr/>
          <p:nvPr/>
        </p:nvGraphicFramePr>
        <p:xfrm>
          <a:off x="6852315" y="2530098"/>
          <a:ext cx="5333608" cy="10342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8" name="Chart 97">
            <a:extLst>
              <a:ext uri="{FF2B5EF4-FFF2-40B4-BE49-F238E27FC236}">
                <a16:creationId xmlns:a16="http://schemas.microsoft.com/office/drawing/2014/main" id="{8352E3B5-080C-46DE-B7F7-0E64A6BA5CFE}"/>
              </a:ext>
            </a:extLst>
          </p:cNvPr>
          <p:cNvGraphicFramePr/>
          <p:nvPr/>
        </p:nvGraphicFramePr>
        <p:xfrm>
          <a:off x="6852315" y="1500972"/>
          <a:ext cx="5333608" cy="10342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Chart 81">
            <a:extLst>
              <a:ext uri="{FF2B5EF4-FFF2-40B4-BE49-F238E27FC236}">
                <a16:creationId xmlns:a16="http://schemas.microsoft.com/office/drawing/2014/main" id="{04923A61-1D39-41F3-A8F0-D03DA9F728D1}"/>
              </a:ext>
            </a:extLst>
          </p:cNvPr>
          <p:cNvGraphicFramePr/>
          <p:nvPr/>
        </p:nvGraphicFramePr>
        <p:xfrm>
          <a:off x="5858933" y="3564847"/>
          <a:ext cx="1002528" cy="13634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9" name="Chart 88">
            <a:extLst>
              <a:ext uri="{FF2B5EF4-FFF2-40B4-BE49-F238E27FC236}">
                <a16:creationId xmlns:a16="http://schemas.microsoft.com/office/drawing/2014/main" id="{0E2077CD-6EAF-448B-A1EC-DFB76FC7707F}"/>
              </a:ext>
            </a:extLst>
          </p:cNvPr>
          <p:cNvGraphicFramePr/>
          <p:nvPr/>
        </p:nvGraphicFramePr>
        <p:xfrm>
          <a:off x="5858933" y="2530098"/>
          <a:ext cx="1002528" cy="10342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0" name="Chart 89">
            <a:extLst>
              <a:ext uri="{FF2B5EF4-FFF2-40B4-BE49-F238E27FC236}">
                <a16:creationId xmlns:a16="http://schemas.microsoft.com/office/drawing/2014/main" id="{782E0207-A19C-4E80-97CB-B2DFCC729850}"/>
              </a:ext>
            </a:extLst>
          </p:cNvPr>
          <p:cNvGraphicFramePr/>
          <p:nvPr/>
        </p:nvGraphicFramePr>
        <p:xfrm>
          <a:off x="5858933" y="1500972"/>
          <a:ext cx="1002528" cy="1034264"/>
        </p:xfrm>
        <a:graphic>
          <a:graphicData uri="http://schemas.openxmlformats.org/drawingml/2006/chart">
            <c:chart xmlns:c="http://schemas.openxmlformats.org/drawingml/2006/chart" xmlns:r="http://schemas.openxmlformats.org/officeDocument/2006/relationships" r:id="rId8"/>
          </a:graphicData>
        </a:graphic>
      </p:graphicFrame>
      <p:sp>
        <p:nvSpPr>
          <p:cNvPr id="13" name="Rectangle 12">
            <a:extLst>
              <a:ext uri="{FF2B5EF4-FFF2-40B4-BE49-F238E27FC236}">
                <a16:creationId xmlns:a16="http://schemas.microsoft.com/office/drawing/2014/main" id="{50B90408-B2C2-44FF-A8F9-724864263CED}"/>
              </a:ext>
            </a:extLst>
          </p:cNvPr>
          <p:cNvSpPr/>
          <p:nvPr/>
        </p:nvSpPr>
        <p:spPr>
          <a:xfrm>
            <a:off x="160185" y="1007654"/>
            <a:ext cx="4251140" cy="530604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Freeform: Shape 106">
            <a:extLst>
              <a:ext uri="{FF2B5EF4-FFF2-40B4-BE49-F238E27FC236}">
                <a16:creationId xmlns:a16="http://schemas.microsoft.com/office/drawing/2014/main" id="{620411A3-F2A3-40D7-97C5-9F59D25D860C}"/>
              </a:ext>
            </a:extLst>
          </p:cNvPr>
          <p:cNvSpPr/>
          <p:nvPr/>
        </p:nvSpPr>
        <p:spPr>
          <a:xfrm flipH="1">
            <a:off x="222240" y="2578987"/>
            <a:ext cx="4084718" cy="1100932"/>
          </a:xfrm>
          <a:custGeom>
            <a:avLst/>
            <a:gdLst>
              <a:gd name="connsiteX0" fmla="*/ 2834392 w 4084718"/>
              <a:gd name="connsiteY0" fmla="*/ 0 h 1044597"/>
              <a:gd name="connsiteX1" fmla="*/ 1173340 w 4084718"/>
              <a:gd name="connsiteY1" fmla="*/ 0 h 1044597"/>
              <a:gd name="connsiteX2" fmla="*/ 1173340 w 4084718"/>
              <a:gd name="connsiteY2" fmla="*/ 860687 h 1044597"/>
              <a:gd name="connsiteX3" fmla="*/ 0 w 4084718"/>
              <a:gd name="connsiteY3" fmla="*/ 1044597 h 1044597"/>
              <a:gd name="connsiteX4" fmla="*/ 1173340 w 4084718"/>
              <a:gd name="connsiteY4" fmla="*/ 1044597 h 1044597"/>
              <a:gd name="connsiteX5" fmla="*/ 1248798 w 4084718"/>
              <a:gd name="connsiteY5" fmla="*/ 1044597 h 1044597"/>
              <a:gd name="connsiteX6" fmla="*/ 2782958 w 4084718"/>
              <a:gd name="connsiteY6" fmla="*/ 1044597 h 1044597"/>
              <a:gd name="connsiteX7" fmla="*/ 2834392 w 4084718"/>
              <a:gd name="connsiteY7" fmla="*/ 1044597 h 1044597"/>
              <a:gd name="connsiteX8" fmla="*/ 4084718 w 4084718"/>
              <a:gd name="connsiteY8" fmla="*/ 1044597 h 1044597"/>
              <a:gd name="connsiteX9" fmla="*/ 2834392 w 4084718"/>
              <a:gd name="connsiteY9" fmla="*/ 856594 h 10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4718" h="1044597">
                <a:moveTo>
                  <a:pt x="2834392" y="0"/>
                </a:moveTo>
                <a:lnTo>
                  <a:pt x="1173340" y="0"/>
                </a:lnTo>
                <a:lnTo>
                  <a:pt x="1173340" y="860687"/>
                </a:lnTo>
                <a:lnTo>
                  <a:pt x="0" y="1044597"/>
                </a:lnTo>
                <a:lnTo>
                  <a:pt x="1173340" y="1044597"/>
                </a:lnTo>
                <a:lnTo>
                  <a:pt x="1248798" y="1044597"/>
                </a:lnTo>
                <a:lnTo>
                  <a:pt x="2782958" y="1044597"/>
                </a:lnTo>
                <a:lnTo>
                  <a:pt x="2834392" y="1044597"/>
                </a:lnTo>
                <a:lnTo>
                  <a:pt x="4084718" y="1044597"/>
                </a:lnTo>
                <a:lnTo>
                  <a:pt x="2834392" y="856594"/>
                </a:lnTo>
                <a:close/>
              </a:path>
            </a:pathLst>
          </a:custGeom>
          <a:gradFill>
            <a:gsLst>
              <a:gs pos="43000">
                <a:schemeClr val="bg1"/>
              </a:gs>
              <a:gs pos="100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aphicFrame>
        <p:nvGraphicFramePr>
          <p:cNvPr id="3" name="Object 2" hidden="1">
            <a:extLst>
              <a:ext uri="{FF2B5EF4-FFF2-40B4-BE49-F238E27FC236}">
                <a16:creationId xmlns:a16="http://schemas.microsoft.com/office/drawing/2014/main" id="{BDDBB1E5-13EB-489B-80F3-302D5B85F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 name="Object 2" hidden="1">
                        <a:extLst>
                          <a:ext uri="{FF2B5EF4-FFF2-40B4-BE49-F238E27FC236}">
                            <a16:creationId xmlns:a16="http://schemas.microsoft.com/office/drawing/2014/main" id="{BDDBB1E5-13EB-489B-80F3-302D5B85F2C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A865A13-5BB7-4029-A6E4-951B1772A0E9}"/>
              </a:ext>
            </a:extLst>
          </p:cNvPr>
          <p:cNvGrpSpPr/>
          <p:nvPr/>
        </p:nvGrpSpPr>
        <p:grpSpPr>
          <a:xfrm>
            <a:off x="1524000" y="223118"/>
            <a:ext cx="9144000" cy="369332"/>
            <a:chOff x="0" y="295544"/>
            <a:chExt cx="9144000" cy="369332"/>
          </a:xfrm>
        </p:grpSpPr>
        <p:sp>
          <p:nvSpPr>
            <p:cNvPr id="50" name="Rectangle 49">
              <a:extLst>
                <a:ext uri="{FF2B5EF4-FFF2-40B4-BE49-F238E27FC236}">
                  <a16:creationId xmlns:a16="http://schemas.microsoft.com/office/drawing/2014/main" id="{ED19B5CF-C4AB-449A-AAA0-CDF79580278E}"/>
                </a:ext>
              </a:extLst>
            </p:cNvPr>
            <p:cNvSpPr/>
            <p:nvPr/>
          </p:nvSpPr>
          <p:spPr>
            <a:xfrm>
              <a:off x="734382" y="295544"/>
              <a:ext cx="7675236"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Bahnschrift" panose="020B0502040204020203" pitchFamily="34" charset="0"/>
                  <a:ea typeface="+mn-ea"/>
                  <a:cs typeface="+mn-cs"/>
                </a:rPr>
                <a:t>Supply Chain and Health Services Dashboard</a:t>
              </a:r>
              <a:endParaRPr kumimoji="0" lang="en-US" sz="2000" b="1"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grpSp>
          <p:nvGrpSpPr>
            <p:cNvPr id="51" name="Group 50">
              <a:extLst>
                <a:ext uri="{FF2B5EF4-FFF2-40B4-BE49-F238E27FC236}">
                  <a16:creationId xmlns:a16="http://schemas.microsoft.com/office/drawing/2014/main" id="{9D479C72-27FC-4179-A756-DEF29BE4A257}"/>
                </a:ext>
              </a:extLst>
            </p:cNvPr>
            <p:cNvGrpSpPr/>
            <p:nvPr/>
          </p:nvGrpSpPr>
          <p:grpSpPr>
            <a:xfrm>
              <a:off x="0" y="343694"/>
              <a:ext cx="9144000" cy="273032"/>
              <a:chOff x="0" y="598473"/>
              <a:chExt cx="9144000" cy="273032"/>
            </a:xfrm>
          </p:grpSpPr>
          <p:grpSp>
            <p:nvGrpSpPr>
              <p:cNvPr id="52" name="Group 51">
                <a:extLst>
                  <a:ext uri="{FF2B5EF4-FFF2-40B4-BE49-F238E27FC236}">
                    <a16:creationId xmlns:a16="http://schemas.microsoft.com/office/drawing/2014/main" id="{5D87E020-AE36-4269-A5F8-04F31AC1F8F6}"/>
                  </a:ext>
                </a:extLst>
              </p:cNvPr>
              <p:cNvGrpSpPr/>
              <p:nvPr/>
            </p:nvGrpSpPr>
            <p:grpSpPr>
              <a:xfrm flipH="1">
                <a:off x="8162094" y="598473"/>
                <a:ext cx="981906" cy="273032"/>
                <a:chOff x="93860" y="5978044"/>
                <a:chExt cx="2333623" cy="273032"/>
              </a:xfrm>
            </p:grpSpPr>
            <p:grpSp>
              <p:nvGrpSpPr>
                <p:cNvPr id="67" name="Group 66">
                  <a:extLst>
                    <a:ext uri="{FF2B5EF4-FFF2-40B4-BE49-F238E27FC236}">
                      <a16:creationId xmlns:a16="http://schemas.microsoft.com/office/drawing/2014/main" id="{6B1C332F-361F-401A-9380-CE19000B15F2}"/>
                    </a:ext>
                  </a:extLst>
                </p:cNvPr>
                <p:cNvGrpSpPr/>
                <p:nvPr/>
              </p:nvGrpSpPr>
              <p:grpSpPr>
                <a:xfrm rot="16200000">
                  <a:off x="1242943" y="5066535"/>
                  <a:ext cx="35458" cy="2333623"/>
                  <a:chOff x="52165" y="399141"/>
                  <a:chExt cx="53351" cy="2848574"/>
                </a:xfrm>
              </p:grpSpPr>
              <p:cxnSp>
                <p:nvCxnSpPr>
                  <p:cNvPr id="76" name="Straight Connector 75">
                    <a:extLst>
                      <a:ext uri="{FF2B5EF4-FFF2-40B4-BE49-F238E27FC236}">
                        <a16:creationId xmlns:a16="http://schemas.microsoft.com/office/drawing/2014/main" id="{90E99884-A6B5-4898-9B41-18A4761EEB5E}"/>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D3C933C-F219-433B-AF84-E596AFD13213}"/>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44E72B-7E9A-4AB0-B9EF-1DFE52224E8F}"/>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FBC62DC-F408-410C-81CC-A699D7D41FF8}"/>
                    </a:ext>
                  </a:extLst>
                </p:cNvPr>
                <p:cNvGrpSpPr/>
                <p:nvPr/>
              </p:nvGrpSpPr>
              <p:grpSpPr>
                <a:xfrm rot="16200000">
                  <a:off x="1242943" y="4947748"/>
                  <a:ext cx="35458" cy="2333623"/>
                  <a:chOff x="52165" y="399141"/>
                  <a:chExt cx="53351" cy="2848574"/>
                </a:xfrm>
              </p:grpSpPr>
              <p:cxnSp>
                <p:nvCxnSpPr>
                  <p:cNvPr id="73" name="Straight Connector 72">
                    <a:extLst>
                      <a:ext uri="{FF2B5EF4-FFF2-40B4-BE49-F238E27FC236}">
                        <a16:creationId xmlns:a16="http://schemas.microsoft.com/office/drawing/2014/main" id="{D9200B24-11E2-484A-BEC5-67A07FAE136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AB7456-5AC9-484F-9EFA-F29987F2F4D4}"/>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98E84A-3CB6-45CC-B164-2472BAC44D7E}"/>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BE250DBE-D57A-4A82-A464-15018036E69B}"/>
                    </a:ext>
                  </a:extLst>
                </p:cNvPr>
                <p:cNvGrpSpPr/>
                <p:nvPr/>
              </p:nvGrpSpPr>
              <p:grpSpPr>
                <a:xfrm rot="16200000">
                  <a:off x="1242943" y="4828961"/>
                  <a:ext cx="35458" cy="2333623"/>
                  <a:chOff x="52165" y="399141"/>
                  <a:chExt cx="53351" cy="2848574"/>
                </a:xfrm>
              </p:grpSpPr>
              <p:cxnSp>
                <p:nvCxnSpPr>
                  <p:cNvPr id="70" name="Straight Connector 69">
                    <a:extLst>
                      <a:ext uri="{FF2B5EF4-FFF2-40B4-BE49-F238E27FC236}">
                        <a16:creationId xmlns:a16="http://schemas.microsoft.com/office/drawing/2014/main" id="{2FBD811D-518F-4C62-BB65-003F8785BC8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2539E9B-A35F-415E-93D9-5CD1777A3458}"/>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E643024-BBA7-420D-B97B-570F90F37A1C}"/>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0EF7E3C9-3056-4226-98BA-E23233FC25BB}"/>
                  </a:ext>
                </a:extLst>
              </p:cNvPr>
              <p:cNvGrpSpPr/>
              <p:nvPr/>
            </p:nvGrpSpPr>
            <p:grpSpPr>
              <a:xfrm>
                <a:off x="0" y="598473"/>
                <a:ext cx="981906" cy="273032"/>
                <a:chOff x="93860" y="5978044"/>
                <a:chExt cx="2333623" cy="273032"/>
              </a:xfrm>
            </p:grpSpPr>
            <p:grpSp>
              <p:nvGrpSpPr>
                <p:cNvPr id="55" name="Group 54">
                  <a:extLst>
                    <a:ext uri="{FF2B5EF4-FFF2-40B4-BE49-F238E27FC236}">
                      <a16:creationId xmlns:a16="http://schemas.microsoft.com/office/drawing/2014/main" id="{C7661A02-2EAD-42A7-BBDB-96FD2702C2BF}"/>
                    </a:ext>
                  </a:extLst>
                </p:cNvPr>
                <p:cNvGrpSpPr/>
                <p:nvPr/>
              </p:nvGrpSpPr>
              <p:grpSpPr>
                <a:xfrm rot="16200000">
                  <a:off x="1242943" y="5066535"/>
                  <a:ext cx="35458" cy="2333623"/>
                  <a:chOff x="52165" y="399141"/>
                  <a:chExt cx="53351" cy="2848574"/>
                </a:xfrm>
              </p:grpSpPr>
              <p:cxnSp>
                <p:nvCxnSpPr>
                  <p:cNvPr id="64" name="Straight Connector 63">
                    <a:extLst>
                      <a:ext uri="{FF2B5EF4-FFF2-40B4-BE49-F238E27FC236}">
                        <a16:creationId xmlns:a16="http://schemas.microsoft.com/office/drawing/2014/main" id="{FC279BEA-33EC-40F5-9526-AC46FA56EDB3}"/>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18F3F2-7FD7-40CB-9298-F85C6EAF3D1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9D75-8C03-4252-B01E-F27CE7E99D0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9AB5B898-DF29-4A9D-B0E0-94E99BAE5EA8}"/>
                    </a:ext>
                  </a:extLst>
                </p:cNvPr>
                <p:cNvGrpSpPr/>
                <p:nvPr/>
              </p:nvGrpSpPr>
              <p:grpSpPr>
                <a:xfrm rot="16200000">
                  <a:off x="1242943" y="4947748"/>
                  <a:ext cx="35458" cy="2333623"/>
                  <a:chOff x="52165" y="399141"/>
                  <a:chExt cx="53351" cy="2848574"/>
                </a:xfrm>
              </p:grpSpPr>
              <p:cxnSp>
                <p:nvCxnSpPr>
                  <p:cNvPr id="61" name="Straight Connector 60">
                    <a:extLst>
                      <a:ext uri="{FF2B5EF4-FFF2-40B4-BE49-F238E27FC236}">
                        <a16:creationId xmlns:a16="http://schemas.microsoft.com/office/drawing/2014/main" id="{6D7F8370-1932-495A-A1E8-C88818D79066}"/>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6181864-41BF-481F-AC7C-B0B53C911102}"/>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C6C444-4AD5-44A5-8EFB-56AEFE1A7B94}"/>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4A3A93-0FD2-4AE1-8D2C-2E6CEBFAA211}"/>
                    </a:ext>
                  </a:extLst>
                </p:cNvPr>
                <p:cNvGrpSpPr/>
                <p:nvPr/>
              </p:nvGrpSpPr>
              <p:grpSpPr>
                <a:xfrm rot="16200000">
                  <a:off x="1242943" y="4828961"/>
                  <a:ext cx="35458" cy="2333623"/>
                  <a:chOff x="52165" y="399141"/>
                  <a:chExt cx="53351" cy="2848574"/>
                </a:xfrm>
              </p:grpSpPr>
              <p:cxnSp>
                <p:nvCxnSpPr>
                  <p:cNvPr id="58" name="Straight Connector 57">
                    <a:extLst>
                      <a:ext uri="{FF2B5EF4-FFF2-40B4-BE49-F238E27FC236}">
                        <a16:creationId xmlns:a16="http://schemas.microsoft.com/office/drawing/2014/main" id="{B1827FBB-43DC-4C60-B15A-5AA8A9C69645}"/>
                      </a:ext>
                    </a:extLst>
                  </p:cNvPr>
                  <p:cNvCxnSpPr>
                    <a:cxnSpLocks/>
                  </p:cNvCxnSpPr>
                  <p:nvPr/>
                </p:nvCxnSpPr>
                <p:spPr>
                  <a:xfrm flipV="1">
                    <a:off x="105516"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EA42D94-5CB4-4033-BBAA-A2875330E06C}"/>
                      </a:ext>
                    </a:extLst>
                  </p:cNvPr>
                  <p:cNvCxnSpPr>
                    <a:cxnSpLocks/>
                  </p:cNvCxnSpPr>
                  <p:nvPr/>
                </p:nvCxnSpPr>
                <p:spPr>
                  <a:xfrm flipV="1">
                    <a:off x="78840"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AF37FF8-55F6-4182-B1C1-C32E4091781B}"/>
                      </a:ext>
                    </a:extLst>
                  </p:cNvPr>
                  <p:cNvCxnSpPr>
                    <a:cxnSpLocks/>
                  </p:cNvCxnSpPr>
                  <p:nvPr/>
                </p:nvCxnSpPr>
                <p:spPr>
                  <a:xfrm flipV="1">
                    <a:off x="52165" y="399141"/>
                    <a:ext cx="0" cy="2848574"/>
                  </a:xfrm>
                  <a:prstGeom prst="line">
                    <a:avLst/>
                  </a:prstGeom>
                  <a:ln>
                    <a:gradFill>
                      <a:gsLst>
                        <a:gs pos="0">
                          <a:schemeClr val="accent1">
                            <a:lumMod val="5000"/>
                            <a:lumOff val="95000"/>
                            <a:alpha val="0"/>
                          </a:schemeClr>
                        </a:gs>
                        <a:gs pos="100000">
                          <a:schemeClr val="bg1">
                            <a:lumMod val="8500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grpSp>
      </p:grpSp>
      <p:sp>
        <p:nvSpPr>
          <p:cNvPr id="79" name="Title 7">
            <a:extLst>
              <a:ext uri="{FF2B5EF4-FFF2-40B4-BE49-F238E27FC236}">
                <a16:creationId xmlns:a16="http://schemas.microsoft.com/office/drawing/2014/main" id="{A1676573-A720-4D61-8D96-36566EDD4721}"/>
              </a:ext>
            </a:extLst>
          </p:cNvPr>
          <p:cNvSpPr txBox="1">
            <a:spLocks/>
          </p:cNvSpPr>
          <p:nvPr/>
        </p:nvSpPr>
        <p:spPr>
          <a:xfrm>
            <a:off x="1" y="-3752"/>
            <a:ext cx="12327466" cy="895850"/>
          </a:xfrm>
          <a:prstGeom prst="rect">
            <a:avLst/>
          </a:prstGeom>
          <a:solidFill>
            <a:schemeClr val="accent1">
              <a:lumMod val="20000"/>
              <a:lumOff val="80000"/>
            </a:schemeClr>
          </a:solidFill>
        </p:spPr>
        <p:txBody>
          <a:bodyPr vert="horz" lIns="108000" tIns="72000" rIns="108000" bIns="7200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spcBef>
                <a:spcPts val="600"/>
              </a:spcBef>
              <a:spcAft>
                <a:spcPts val="600"/>
              </a:spcAft>
            </a:pPr>
            <a:r>
              <a:rPr lang="en-GB" sz="2400" dirty="0"/>
              <a:t>HSG-1.1: Percentage of facilities with written and updated clinical guidelines for HIV, TB, malaria and/or PHC developed by the government</a:t>
            </a:r>
          </a:p>
        </p:txBody>
      </p:sp>
      <p:sp>
        <p:nvSpPr>
          <p:cNvPr id="84" name="Slide Number Placeholder 1">
            <a:extLst>
              <a:ext uri="{FF2B5EF4-FFF2-40B4-BE49-F238E27FC236}">
                <a16:creationId xmlns:a16="http://schemas.microsoft.com/office/drawing/2014/main" id="{87EBC8AE-E8DD-4348-A898-1278FE8AD912}"/>
              </a:ext>
            </a:extLst>
          </p:cNvPr>
          <p:cNvSpPr>
            <a:spLocks noGrp="1"/>
          </p:cNvSpPr>
          <p:nvPr>
            <p:ph type="sldNum" sz="quarter" idx="12"/>
          </p:nvPr>
        </p:nvSpPr>
        <p:spPr>
          <a:xfrm>
            <a:off x="10957002" y="6304309"/>
            <a:ext cx="897300" cy="365125"/>
          </a:xfrm>
        </p:spPr>
        <p:txBody>
          <a:bodyPr/>
          <a:lstStyle/>
          <a:p>
            <a:fld id="{9E2BE927-25C7-4379-86F1-C17ED9D2A7F2}" type="slidenum">
              <a:rPr lang="en-US" smtClean="0"/>
              <a:t>22</a:t>
            </a:fld>
            <a:endParaRPr lang="en-US" dirty="0"/>
          </a:p>
        </p:txBody>
      </p:sp>
      <p:graphicFrame>
        <p:nvGraphicFramePr>
          <p:cNvPr id="5" name="Chart 4">
            <a:extLst>
              <a:ext uri="{FF2B5EF4-FFF2-40B4-BE49-F238E27FC236}">
                <a16:creationId xmlns:a16="http://schemas.microsoft.com/office/drawing/2014/main" id="{0D365958-1319-4553-A41C-9EE73C8DB9AA}"/>
              </a:ext>
            </a:extLst>
          </p:cNvPr>
          <p:cNvGraphicFramePr/>
          <p:nvPr/>
        </p:nvGraphicFramePr>
        <p:xfrm>
          <a:off x="815616" y="1474488"/>
          <a:ext cx="2940278" cy="2089874"/>
        </p:xfrm>
        <a:graphic>
          <a:graphicData uri="http://schemas.openxmlformats.org/drawingml/2006/chart">
            <c:chart xmlns:c="http://schemas.openxmlformats.org/drawingml/2006/chart" xmlns:r="http://schemas.openxmlformats.org/officeDocument/2006/relationships" r:id="rId11"/>
          </a:graphicData>
        </a:graphic>
      </p:graphicFrame>
      <p:cxnSp>
        <p:nvCxnSpPr>
          <p:cNvPr id="15" name="Straight Connector 14">
            <a:extLst>
              <a:ext uri="{FF2B5EF4-FFF2-40B4-BE49-F238E27FC236}">
                <a16:creationId xmlns:a16="http://schemas.microsoft.com/office/drawing/2014/main" id="{9B0A205E-6B87-4A15-8257-D9B26E9AE02A}"/>
              </a:ext>
            </a:extLst>
          </p:cNvPr>
          <p:cNvCxnSpPr>
            <a:cxnSpLocks/>
          </p:cNvCxnSpPr>
          <p:nvPr/>
        </p:nvCxnSpPr>
        <p:spPr>
          <a:xfrm>
            <a:off x="4582149" y="1544242"/>
            <a:ext cx="7449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9EDD33-D1C7-4B4F-89CC-EF19992C51AF}"/>
              </a:ext>
            </a:extLst>
          </p:cNvPr>
          <p:cNvSpPr txBox="1"/>
          <p:nvPr/>
        </p:nvSpPr>
        <p:spPr>
          <a:xfrm>
            <a:off x="4487995" y="1028071"/>
            <a:ext cx="7493121" cy="523220"/>
          </a:xfrm>
          <a:prstGeom prst="rect">
            <a:avLst/>
          </a:prstGeom>
          <a:noFill/>
        </p:spPr>
        <p:txBody>
          <a:bodyPr wrap="square" rtlCol="0">
            <a:spAutoFit/>
          </a:bodyPr>
          <a:lstStyle>
            <a:defPPr>
              <a:defRPr lang="en-US"/>
            </a:defPPr>
            <a:lvl1pPr>
              <a:spcBef>
                <a:spcPts val="600"/>
              </a:spcBef>
              <a:spcAft>
                <a:spcPts val="600"/>
              </a:spcAft>
              <a:defRPr sz="1400" b="1"/>
            </a:lvl1pPr>
          </a:lstStyle>
          <a:p>
            <a:r>
              <a:rPr lang="en-GB" dirty="0"/>
              <a:t>Average for indicator and dimensions for </a:t>
            </a:r>
            <a:r>
              <a:rPr lang="en-GB" sz="1400" b="1" dirty="0"/>
              <a:t>the 7-component facility composite score by facility levels</a:t>
            </a:r>
            <a:endParaRPr lang="en-GB" dirty="0"/>
          </a:p>
        </p:txBody>
      </p:sp>
      <p:sp>
        <p:nvSpPr>
          <p:cNvPr id="86" name="Rectangle 85">
            <a:extLst>
              <a:ext uri="{FF2B5EF4-FFF2-40B4-BE49-F238E27FC236}">
                <a16:creationId xmlns:a16="http://schemas.microsoft.com/office/drawing/2014/main" id="{12A7A32F-2A00-4722-97C2-3FCEDB47A07D}"/>
              </a:ext>
            </a:extLst>
          </p:cNvPr>
          <p:cNvSpPr/>
          <p:nvPr/>
        </p:nvSpPr>
        <p:spPr>
          <a:xfrm>
            <a:off x="4499537" y="4940415"/>
            <a:ext cx="7583711" cy="1527531"/>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300"/>
              </a:spcBef>
              <a:spcAft>
                <a:spcPts val="300"/>
              </a:spcAft>
              <a:buFont typeface="Wingdings" panose="05000000000000000000" pitchFamily="2" charset="2"/>
              <a:buChar char="§"/>
            </a:pPr>
            <a:r>
              <a:rPr lang="en-US" sz="1200" dirty="0">
                <a:solidFill>
                  <a:schemeClr val="tx1"/>
                </a:solidFill>
              </a:rPr>
              <a:t>The facility composite score was relatively high in Malawi with a country average of 70. ANC dropout rate was the attribute with the worst performance with DPT dropout being the highest attribute. This indicates the strength of the immunization program and the potential weakness of ante-natal care especially at primary levels</a:t>
            </a:r>
          </a:p>
          <a:p>
            <a:pPr marL="171450" indent="-171450">
              <a:spcBef>
                <a:spcPts val="300"/>
              </a:spcBef>
              <a:spcAft>
                <a:spcPts val="300"/>
              </a:spcAft>
              <a:buFont typeface="Wingdings" panose="05000000000000000000" pitchFamily="2" charset="2"/>
              <a:buChar char="§"/>
            </a:pPr>
            <a:r>
              <a:rPr lang="en-US" sz="1200" dirty="0">
                <a:solidFill>
                  <a:schemeClr val="tx1"/>
                </a:solidFill>
              </a:rPr>
              <a:t>Country averages were relatively similar between the different service levels. However, there are notable differences between the different levels for patient caseloads, ANC dropout, DPT dropout, and ART retention</a:t>
            </a:r>
          </a:p>
        </p:txBody>
      </p:sp>
      <p:cxnSp>
        <p:nvCxnSpPr>
          <p:cNvPr id="87" name="Straight Connector 86">
            <a:extLst>
              <a:ext uri="{FF2B5EF4-FFF2-40B4-BE49-F238E27FC236}">
                <a16:creationId xmlns:a16="http://schemas.microsoft.com/office/drawing/2014/main" id="{9570E63A-F846-4D2A-9007-EDC88D30AB8F}"/>
              </a:ext>
            </a:extLst>
          </p:cNvPr>
          <p:cNvCxnSpPr>
            <a:cxnSpLocks/>
          </p:cNvCxnSpPr>
          <p:nvPr/>
        </p:nvCxnSpPr>
        <p:spPr>
          <a:xfrm>
            <a:off x="185206" y="1544242"/>
            <a:ext cx="42010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5E03D2B-16D1-4AB0-89C7-82EA43BF1FEA}"/>
              </a:ext>
            </a:extLst>
          </p:cNvPr>
          <p:cNvSpPr txBox="1"/>
          <p:nvPr/>
        </p:nvSpPr>
        <p:spPr>
          <a:xfrm>
            <a:off x="222240" y="1028071"/>
            <a:ext cx="4127030" cy="523220"/>
          </a:xfrm>
          <a:prstGeom prst="rect">
            <a:avLst/>
          </a:prstGeom>
          <a:noFill/>
        </p:spPr>
        <p:txBody>
          <a:bodyPr wrap="square" rtlCol="0">
            <a:spAutoFit/>
          </a:bodyPr>
          <a:lstStyle/>
          <a:p>
            <a:pPr>
              <a:spcBef>
                <a:spcPts val="600"/>
              </a:spcBef>
              <a:spcAft>
                <a:spcPts val="600"/>
              </a:spcAft>
            </a:pPr>
            <a:r>
              <a:rPr lang="en-GB" sz="1400" b="1" dirty="0"/>
              <a:t>Country average for indicator and dimensions for the 7-component facility composite score</a:t>
            </a:r>
          </a:p>
        </p:txBody>
      </p:sp>
      <p:grpSp>
        <p:nvGrpSpPr>
          <p:cNvPr id="94" name="Group 93">
            <a:extLst>
              <a:ext uri="{FF2B5EF4-FFF2-40B4-BE49-F238E27FC236}">
                <a16:creationId xmlns:a16="http://schemas.microsoft.com/office/drawing/2014/main" id="{FE6BA20B-9966-443D-92FF-2143FF2B2F51}"/>
              </a:ext>
            </a:extLst>
          </p:cNvPr>
          <p:cNvGrpSpPr/>
          <p:nvPr/>
        </p:nvGrpSpPr>
        <p:grpSpPr>
          <a:xfrm>
            <a:off x="4487995" y="2752749"/>
            <a:ext cx="1285035" cy="588963"/>
            <a:chOff x="5068357" y="4216003"/>
            <a:chExt cx="2282627" cy="964883"/>
          </a:xfrm>
          <a:solidFill>
            <a:srgbClr val="C30C3E"/>
          </a:solidFill>
        </p:grpSpPr>
        <p:sp>
          <p:nvSpPr>
            <p:cNvPr id="109" name="Rounded Rectangle 124">
              <a:extLst>
                <a:ext uri="{FF2B5EF4-FFF2-40B4-BE49-F238E27FC236}">
                  <a16:creationId xmlns:a16="http://schemas.microsoft.com/office/drawing/2014/main" id="{09F4C969-7FA5-44E4-BDBD-3C83F335A923}"/>
                </a:ext>
              </a:extLst>
            </p:cNvPr>
            <p:cNvSpPr/>
            <p:nvPr/>
          </p:nvSpPr>
          <p:spPr>
            <a:xfrm>
              <a:off x="5068357" y="4216003"/>
              <a:ext cx="2282627" cy="964883"/>
            </a:xfrm>
            <a:prstGeom prst="roundRect">
              <a:avLst>
                <a:gd name="adj" fmla="val 4031"/>
              </a:avLst>
            </a:prstGeom>
            <a:solidFill>
              <a:srgbClr val="BA7DE6"/>
            </a:solidFill>
            <a:ln w="3175" cap="flat" cmpd="sng" algn="ctr">
              <a:solidFill>
                <a:srgbClr val="BA7DE6"/>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condary health care facilities</a:t>
              </a:r>
            </a:p>
          </p:txBody>
        </p:sp>
        <p:pic>
          <p:nvPicPr>
            <p:cNvPr id="112" name="Picture 111">
              <a:extLst>
                <a:ext uri="{FF2B5EF4-FFF2-40B4-BE49-F238E27FC236}">
                  <a16:creationId xmlns:a16="http://schemas.microsoft.com/office/drawing/2014/main" id="{35083E9B-1361-4CBA-AD1D-8571FD3CF5A7}"/>
                </a:ext>
              </a:extLst>
            </p:cNvPr>
            <p:cNvPicPr>
              <a:picLocks noChangeAspect="1"/>
            </p:cNvPicPr>
            <p:nvPr/>
          </p:nvPicPr>
          <p:blipFill>
            <a:blip r:embed="rId12">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6748655" y="4698444"/>
              <a:ext cx="464945" cy="464945"/>
            </a:xfrm>
            <a:prstGeom prst="rect">
              <a:avLst/>
            </a:prstGeom>
            <a:noFill/>
          </p:spPr>
        </p:pic>
      </p:grpSp>
      <p:grpSp>
        <p:nvGrpSpPr>
          <p:cNvPr id="114" name="Group 113">
            <a:extLst>
              <a:ext uri="{FF2B5EF4-FFF2-40B4-BE49-F238E27FC236}">
                <a16:creationId xmlns:a16="http://schemas.microsoft.com/office/drawing/2014/main" id="{3CBDA7E3-9E14-4FDE-822B-B5ED830902E0}"/>
              </a:ext>
            </a:extLst>
          </p:cNvPr>
          <p:cNvGrpSpPr/>
          <p:nvPr/>
        </p:nvGrpSpPr>
        <p:grpSpPr>
          <a:xfrm>
            <a:off x="4487995" y="1737117"/>
            <a:ext cx="1285035" cy="561975"/>
            <a:chOff x="5068357" y="2990850"/>
            <a:chExt cx="2282627" cy="964883"/>
          </a:xfrm>
          <a:solidFill>
            <a:schemeClr val="accent2"/>
          </a:solidFill>
        </p:grpSpPr>
        <p:sp>
          <p:nvSpPr>
            <p:cNvPr id="117" name="Rounded Rectangle 123">
              <a:extLst>
                <a:ext uri="{FF2B5EF4-FFF2-40B4-BE49-F238E27FC236}">
                  <a16:creationId xmlns:a16="http://schemas.microsoft.com/office/drawing/2014/main" id="{D63352D3-F318-457F-B163-7059725CD788}"/>
                </a:ext>
              </a:extLst>
            </p:cNvPr>
            <p:cNvSpPr/>
            <p:nvPr/>
          </p:nvSpPr>
          <p:spPr>
            <a:xfrm>
              <a:off x="5068357" y="2990850"/>
              <a:ext cx="2282627" cy="964883"/>
            </a:xfrm>
            <a:prstGeom prst="roundRect">
              <a:avLst>
                <a:gd name="adj" fmla="val 5084"/>
              </a:avLst>
            </a:prstGeom>
            <a:solidFill>
              <a:srgbClr val="E8D4F7"/>
            </a:solidFill>
            <a:ln w="3175" cap="flat" cmpd="sng" algn="ctr">
              <a:solidFill>
                <a:srgbClr val="E8D4F7"/>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Prim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facilities</a:t>
              </a:r>
            </a:p>
          </p:txBody>
        </p:sp>
        <p:pic>
          <p:nvPicPr>
            <p:cNvPr id="119" name="Picture 118">
              <a:extLst>
                <a:ext uri="{FF2B5EF4-FFF2-40B4-BE49-F238E27FC236}">
                  <a16:creationId xmlns:a16="http://schemas.microsoft.com/office/drawing/2014/main" id="{B062C421-4AC6-4FC4-AE77-9705FAC2D508}"/>
                </a:ext>
              </a:extLst>
            </p:cNvPr>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6784215" y="3529013"/>
              <a:ext cx="393825" cy="393825"/>
            </a:xfrm>
            <a:prstGeom prst="rect">
              <a:avLst/>
            </a:prstGeom>
            <a:noFill/>
          </p:spPr>
        </p:pic>
      </p:grpSp>
      <p:grpSp>
        <p:nvGrpSpPr>
          <p:cNvPr id="120" name="Group 119">
            <a:extLst>
              <a:ext uri="{FF2B5EF4-FFF2-40B4-BE49-F238E27FC236}">
                <a16:creationId xmlns:a16="http://schemas.microsoft.com/office/drawing/2014/main" id="{37CF1A4C-AB65-4E44-AECB-08D1C25AA75D}"/>
              </a:ext>
            </a:extLst>
          </p:cNvPr>
          <p:cNvGrpSpPr/>
          <p:nvPr/>
        </p:nvGrpSpPr>
        <p:grpSpPr>
          <a:xfrm>
            <a:off x="4478273" y="3783531"/>
            <a:ext cx="1294757" cy="596900"/>
            <a:chOff x="5068358" y="5441155"/>
            <a:chExt cx="1294644" cy="964883"/>
          </a:xfrm>
          <a:solidFill>
            <a:srgbClr val="F9E1A7"/>
          </a:solidFill>
        </p:grpSpPr>
        <p:sp>
          <p:nvSpPr>
            <p:cNvPr id="121" name="Rounded Rectangle 125">
              <a:extLst>
                <a:ext uri="{FF2B5EF4-FFF2-40B4-BE49-F238E27FC236}">
                  <a16:creationId xmlns:a16="http://schemas.microsoft.com/office/drawing/2014/main" id="{B42BE2C6-807C-4BCB-BC89-0FC4768CD51C}"/>
                </a:ext>
              </a:extLst>
            </p:cNvPr>
            <p:cNvSpPr/>
            <p:nvPr/>
          </p:nvSpPr>
          <p:spPr>
            <a:xfrm>
              <a:off x="5068358" y="5441155"/>
              <a:ext cx="1294644" cy="964883"/>
            </a:xfrm>
            <a:prstGeom prst="roundRect">
              <a:avLst>
                <a:gd name="adj" fmla="val 5084"/>
              </a:avLst>
            </a:prstGeom>
            <a:solidFill>
              <a:srgbClr val="461469"/>
            </a:solidFill>
            <a:ln w="3175" cap="flat" cmpd="sng" algn="ctr">
              <a:solidFill>
                <a:schemeClr val="bg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Tertiary health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a:ea typeface="+mn-ea"/>
                  <a:cs typeface="+mn-cs"/>
                </a:rPr>
                <a:t>facilities</a:t>
              </a:r>
            </a:p>
          </p:txBody>
        </p:sp>
        <p:pic>
          <p:nvPicPr>
            <p:cNvPr id="122" name="Picture 121">
              <a:extLst>
                <a:ext uri="{FF2B5EF4-FFF2-40B4-BE49-F238E27FC236}">
                  <a16:creationId xmlns:a16="http://schemas.microsoft.com/office/drawing/2014/main" id="{AC7270BB-04DC-497B-A90F-72B4249A94D6}"/>
                </a:ext>
              </a:extLst>
            </p:cNvPr>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889593" y="5943709"/>
              <a:ext cx="371806" cy="371806"/>
            </a:xfrm>
            <a:prstGeom prst="rect">
              <a:avLst/>
            </a:prstGeom>
            <a:noFill/>
          </p:spPr>
        </p:pic>
      </p:grpSp>
      <p:sp>
        <p:nvSpPr>
          <p:cNvPr id="81" name="TextBox 80">
            <a:extLst>
              <a:ext uri="{FF2B5EF4-FFF2-40B4-BE49-F238E27FC236}">
                <a16:creationId xmlns:a16="http://schemas.microsoft.com/office/drawing/2014/main" id="{3190BE78-F6BF-4694-BB8A-06DDFBA23464}"/>
              </a:ext>
            </a:extLst>
          </p:cNvPr>
          <p:cNvSpPr txBox="1"/>
          <p:nvPr/>
        </p:nvSpPr>
        <p:spPr>
          <a:xfrm>
            <a:off x="1974539" y="2288593"/>
            <a:ext cx="622433" cy="461665"/>
          </a:xfrm>
          <a:prstGeom prst="rect">
            <a:avLst/>
          </a:prstGeom>
          <a:noFill/>
        </p:spPr>
        <p:txBody>
          <a:bodyPr wrap="square" rtlCol="0">
            <a:spAutoFit/>
          </a:bodyPr>
          <a:lstStyle/>
          <a:p>
            <a:pPr algn="ctr">
              <a:spcBef>
                <a:spcPts val="600"/>
              </a:spcBef>
              <a:spcAft>
                <a:spcPts val="600"/>
              </a:spcAft>
            </a:pPr>
            <a:r>
              <a:rPr lang="en-GB" sz="2400" b="1" dirty="0"/>
              <a:t>70</a:t>
            </a:r>
          </a:p>
        </p:txBody>
      </p:sp>
      <p:graphicFrame>
        <p:nvGraphicFramePr>
          <p:cNvPr id="83" name="Chart 82">
            <a:extLst>
              <a:ext uri="{FF2B5EF4-FFF2-40B4-BE49-F238E27FC236}">
                <a16:creationId xmlns:a16="http://schemas.microsoft.com/office/drawing/2014/main" id="{C3794453-990D-4BB6-87FA-978BDCEF7793}"/>
              </a:ext>
            </a:extLst>
          </p:cNvPr>
          <p:cNvGraphicFramePr/>
          <p:nvPr/>
        </p:nvGraphicFramePr>
        <p:xfrm>
          <a:off x="248397" y="3679919"/>
          <a:ext cx="4100874" cy="2552600"/>
        </p:xfrm>
        <a:graphic>
          <a:graphicData uri="http://schemas.openxmlformats.org/drawingml/2006/chart">
            <c:chart xmlns:c="http://schemas.openxmlformats.org/drawingml/2006/chart" xmlns:r="http://schemas.openxmlformats.org/officeDocument/2006/relationships" r:id="rId15"/>
          </a:graphicData>
        </a:graphic>
      </p:graphicFrame>
      <p:sp>
        <p:nvSpPr>
          <p:cNvPr id="91" name="Rectangle 90">
            <a:extLst>
              <a:ext uri="{FF2B5EF4-FFF2-40B4-BE49-F238E27FC236}">
                <a16:creationId xmlns:a16="http://schemas.microsoft.com/office/drawing/2014/main" id="{3A7950D9-9385-4BC6-AB49-C961D8DDD91B}"/>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extLst>
      <p:ext uri="{BB962C8B-B14F-4D97-AF65-F5344CB8AC3E}">
        <p14:creationId xmlns:p14="http://schemas.microsoft.com/office/powerpoint/2010/main" val="3498864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6B43F6A-22D9-4925-8635-DD720A037AD9}"/>
              </a:ext>
            </a:extLst>
          </p:cNvPr>
          <p:cNvSpPr/>
          <p:nvPr/>
        </p:nvSpPr>
        <p:spPr>
          <a:xfrm>
            <a:off x="511365" y="798753"/>
            <a:ext cx="11452065" cy="5673966"/>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203D15A4-0197-494E-99E9-CAF3B8703295}"/>
              </a:ext>
            </a:extLst>
          </p:cNvPr>
          <p:cNvSpPr txBox="1"/>
          <p:nvPr/>
        </p:nvSpPr>
        <p:spPr>
          <a:xfrm>
            <a:off x="1394584" y="810713"/>
            <a:ext cx="310981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Arial" panose="020B0604020202020204"/>
                <a:ea typeface="+mn-ea"/>
                <a:cs typeface="+mn-cs"/>
              </a:rPr>
              <a:t>Summary findings</a:t>
            </a:r>
          </a:p>
        </p:txBody>
      </p:sp>
      <p:cxnSp>
        <p:nvCxnSpPr>
          <p:cNvPr id="12" name="Straight Connector 11">
            <a:extLst>
              <a:ext uri="{FF2B5EF4-FFF2-40B4-BE49-F238E27FC236}">
                <a16:creationId xmlns:a16="http://schemas.microsoft.com/office/drawing/2014/main" id="{0BE991AC-17E7-4120-88F0-68BF0E87CD8C}"/>
              </a:ext>
            </a:extLst>
          </p:cNvPr>
          <p:cNvCxnSpPr>
            <a:cxnSpLocks/>
          </p:cNvCxnSpPr>
          <p:nvPr/>
        </p:nvCxnSpPr>
        <p:spPr>
          <a:xfrm>
            <a:off x="1420617" y="1133297"/>
            <a:ext cx="31098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797D6FB9-874C-7F0D-2C60-B7B5CECAF8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cxnSp>
        <p:nvCxnSpPr>
          <p:cNvPr id="32" name="Straight Connector 31">
            <a:extLst>
              <a:ext uri="{FF2B5EF4-FFF2-40B4-BE49-F238E27FC236}">
                <a16:creationId xmlns:a16="http://schemas.microsoft.com/office/drawing/2014/main" id="{CB28ED80-1B1E-4759-810E-BE1BACBFCD13}"/>
              </a:ext>
            </a:extLst>
          </p:cNvPr>
          <p:cNvCxnSpPr>
            <a:cxnSpLocks/>
            <a:endCxn id="9" idx="3"/>
          </p:cNvCxnSpPr>
          <p:nvPr/>
        </p:nvCxnSpPr>
        <p:spPr>
          <a:xfrm>
            <a:off x="9254836" y="3635736"/>
            <a:ext cx="2708594" cy="0"/>
          </a:xfrm>
          <a:prstGeom prst="line">
            <a:avLst/>
          </a:prstGeom>
          <a:ln>
            <a:solidFill>
              <a:schemeClr val="bg2">
                <a:lumMod val="9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46" name="Title 7">
            <a:extLst>
              <a:ext uri="{FF2B5EF4-FFF2-40B4-BE49-F238E27FC236}">
                <a16:creationId xmlns:a16="http://schemas.microsoft.com/office/drawing/2014/main" id="{BF2CC916-1537-4B2B-B36A-B43EEFA1C840}"/>
              </a:ext>
            </a:extLst>
          </p:cNvPr>
          <p:cNvSpPr txBox="1">
            <a:spLocks/>
          </p:cNvSpPr>
          <p:nvPr/>
        </p:nvSpPr>
        <p:spPr>
          <a:xfrm>
            <a:off x="-10763" y="-3752"/>
            <a:ext cx="12192000" cy="709034"/>
          </a:xfrm>
          <a:prstGeom prst="rect">
            <a:avLst/>
          </a:prstGeom>
          <a:solidFill>
            <a:schemeClr val="accent1">
              <a:lumMod val="20000"/>
              <a:lumOff val="80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lvl="0" eaLnBrk="0" fontAlgn="base" hangingPunct="0">
              <a:lnSpc>
                <a:spcPct val="100000"/>
              </a:lnSpc>
              <a:spcAft>
                <a:spcPct val="0"/>
              </a:spcAft>
              <a:defRPr/>
            </a:pPr>
            <a:r>
              <a:rPr lang="en-US" sz="2800" dirty="0">
                <a:solidFill>
                  <a:prstClr val="black"/>
                </a:solidFill>
              </a:rPr>
              <a:t> Summary of findings and recommendations</a:t>
            </a:r>
            <a:endParaRPr lang="en-US" sz="1600" dirty="0">
              <a:solidFill>
                <a:prstClr val="black"/>
              </a:solidFill>
              <a:latin typeface="Arial" panose="020B0604020202020204" pitchFamily="34" charset="0"/>
            </a:endParaRPr>
          </a:p>
        </p:txBody>
      </p:sp>
      <p:sp>
        <p:nvSpPr>
          <p:cNvPr id="48" name="TextBox 47">
            <a:extLst>
              <a:ext uri="{FF2B5EF4-FFF2-40B4-BE49-F238E27FC236}">
                <a16:creationId xmlns:a16="http://schemas.microsoft.com/office/drawing/2014/main" id="{D83FB199-D0FA-42AA-B1E9-6971476B4F73}"/>
              </a:ext>
            </a:extLst>
          </p:cNvPr>
          <p:cNvSpPr txBox="1"/>
          <p:nvPr/>
        </p:nvSpPr>
        <p:spPr>
          <a:xfrm>
            <a:off x="8381999" y="810713"/>
            <a:ext cx="34499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Arial" panose="020B0604020202020204"/>
                <a:ea typeface="+mn-ea"/>
                <a:cs typeface="+mn-cs"/>
              </a:rPr>
              <a:t>Recommendations</a:t>
            </a:r>
          </a:p>
        </p:txBody>
      </p:sp>
      <p:cxnSp>
        <p:nvCxnSpPr>
          <p:cNvPr id="49" name="Straight Connector 48">
            <a:extLst>
              <a:ext uri="{FF2B5EF4-FFF2-40B4-BE49-F238E27FC236}">
                <a16:creationId xmlns:a16="http://schemas.microsoft.com/office/drawing/2014/main" id="{2A01B2E9-85FE-4A75-B789-7064A6F09757}"/>
              </a:ext>
            </a:extLst>
          </p:cNvPr>
          <p:cNvCxnSpPr>
            <a:cxnSpLocks/>
          </p:cNvCxnSpPr>
          <p:nvPr/>
        </p:nvCxnSpPr>
        <p:spPr>
          <a:xfrm>
            <a:off x="8399049" y="1133297"/>
            <a:ext cx="343295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DA8B5A2-E5C8-45D1-8EA4-D1275C1D080C}"/>
              </a:ext>
            </a:extLst>
          </p:cNvPr>
          <p:cNvCxnSpPr>
            <a:cxnSpLocks/>
          </p:cNvCxnSpPr>
          <p:nvPr/>
        </p:nvCxnSpPr>
        <p:spPr>
          <a:xfrm>
            <a:off x="1517602" y="2522852"/>
            <a:ext cx="10296000" cy="0"/>
          </a:xfrm>
          <a:prstGeom prst="line">
            <a:avLst/>
          </a:prstGeom>
          <a:ln w="3175">
            <a:solidFill>
              <a:schemeClr val="bg1">
                <a:lumMod val="8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6EA734A-2E20-4867-8E9C-99B5CBB1D007}"/>
              </a:ext>
            </a:extLst>
          </p:cNvPr>
          <p:cNvCxnSpPr>
            <a:cxnSpLocks/>
          </p:cNvCxnSpPr>
          <p:nvPr/>
        </p:nvCxnSpPr>
        <p:spPr>
          <a:xfrm>
            <a:off x="1517602" y="3466131"/>
            <a:ext cx="10296000" cy="0"/>
          </a:xfrm>
          <a:prstGeom prst="line">
            <a:avLst/>
          </a:prstGeom>
          <a:ln w="3175">
            <a:solidFill>
              <a:schemeClr val="bg1">
                <a:lumMod val="8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F188B8A-BC10-4CAD-A960-556EB84DABE2}"/>
              </a:ext>
            </a:extLst>
          </p:cNvPr>
          <p:cNvCxnSpPr>
            <a:cxnSpLocks/>
          </p:cNvCxnSpPr>
          <p:nvPr/>
        </p:nvCxnSpPr>
        <p:spPr>
          <a:xfrm>
            <a:off x="1517602" y="4224744"/>
            <a:ext cx="10296000" cy="0"/>
          </a:xfrm>
          <a:prstGeom prst="line">
            <a:avLst/>
          </a:prstGeom>
          <a:ln w="3175">
            <a:solidFill>
              <a:schemeClr val="bg1">
                <a:lumMod val="8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30E4A4C-5849-45B1-9697-5AF8475FB50C}"/>
              </a:ext>
            </a:extLst>
          </p:cNvPr>
          <p:cNvCxnSpPr>
            <a:cxnSpLocks/>
          </p:cNvCxnSpPr>
          <p:nvPr/>
        </p:nvCxnSpPr>
        <p:spPr>
          <a:xfrm>
            <a:off x="1517602" y="5129026"/>
            <a:ext cx="10296000" cy="0"/>
          </a:xfrm>
          <a:prstGeom prst="line">
            <a:avLst/>
          </a:prstGeom>
          <a:ln w="3175">
            <a:solidFill>
              <a:schemeClr val="bg1">
                <a:lumMod val="8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7500A0A-9EE3-36B8-F7B8-A7419BD72E51}"/>
              </a:ext>
            </a:extLst>
          </p:cNvPr>
          <p:cNvSpPr/>
          <p:nvPr/>
        </p:nvSpPr>
        <p:spPr>
          <a:xfrm>
            <a:off x="6096000" y="6195363"/>
            <a:ext cx="5268411" cy="611900"/>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300" kern="0" dirty="0">
                <a:solidFill>
                  <a:prstClr val="black"/>
                </a:solidFill>
                <a:latin typeface="Arial" panose="020B0604020202020204"/>
              </a:rPr>
              <a:t>We will work with relevant stakeholders and logistics working group to develop a detailed implementation plan to address gaps identified from the spot check</a:t>
            </a:r>
          </a:p>
        </p:txBody>
      </p:sp>
      <p:sp>
        <p:nvSpPr>
          <p:cNvPr id="61" name="TextBox 60">
            <a:extLst>
              <a:ext uri="{FF2B5EF4-FFF2-40B4-BE49-F238E27FC236}">
                <a16:creationId xmlns:a16="http://schemas.microsoft.com/office/drawing/2014/main" id="{24D30951-6D19-4AB7-9767-98779BE2F690}"/>
              </a:ext>
            </a:extLst>
          </p:cNvPr>
          <p:cNvSpPr txBox="1"/>
          <p:nvPr/>
        </p:nvSpPr>
        <p:spPr>
          <a:xfrm>
            <a:off x="4804594" y="798753"/>
            <a:ext cx="310981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Arial" panose="020B0604020202020204"/>
                <a:ea typeface="+mn-ea"/>
                <a:cs typeface="+mn-cs"/>
              </a:rPr>
              <a:t>Challenges</a:t>
            </a:r>
          </a:p>
        </p:txBody>
      </p:sp>
      <p:cxnSp>
        <p:nvCxnSpPr>
          <p:cNvPr id="67" name="Straight Connector 66">
            <a:extLst>
              <a:ext uri="{FF2B5EF4-FFF2-40B4-BE49-F238E27FC236}">
                <a16:creationId xmlns:a16="http://schemas.microsoft.com/office/drawing/2014/main" id="{C53A84CF-385A-4785-9B8C-C28D2D253273}"/>
              </a:ext>
            </a:extLst>
          </p:cNvPr>
          <p:cNvCxnSpPr>
            <a:cxnSpLocks/>
          </p:cNvCxnSpPr>
          <p:nvPr/>
        </p:nvCxnSpPr>
        <p:spPr>
          <a:xfrm>
            <a:off x="4830627" y="1121337"/>
            <a:ext cx="31098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8A26F16-9F22-417B-A6A3-08216AA6C999}"/>
              </a:ext>
            </a:extLst>
          </p:cNvPr>
          <p:cNvGrpSpPr/>
          <p:nvPr/>
        </p:nvGrpSpPr>
        <p:grpSpPr>
          <a:xfrm>
            <a:off x="125172" y="1189438"/>
            <a:ext cx="11706826" cy="1277273"/>
            <a:chOff x="125172" y="1181319"/>
            <a:chExt cx="11706826" cy="1277273"/>
          </a:xfrm>
        </p:grpSpPr>
        <p:sp>
          <p:nvSpPr>
            <p:cNvPr id="27" name="Rounded Rectangle 123">
              <a:extLst>
                <a:ext uri="{FF2B5EF4-FFF2-40B4-BE49-F238E27FC236}">
                  <a16:creationId xmlns:a16="http://schemas.microsoft.com/office/drawing/2014/main" id="{95307A0D-8239-427D-9ACD-7F435EE7A748}"/>
                </a:ext>
              </a:extLst>
            </p:cNvPr>
            <p:cNvSpPr/>
            <p:nvPr/>
          </p:nvSpPr>
          <p:spPr>
            <a:xfrm>
              <a:off x="125172" y="1181319"/>
              <a:ext cx="1218257" cy="792000"/>
            </a:xfrm>
            <a:prstGeom prst="roundRect">
              <a:avLst>
                <a:gd name="adj" fmla="val 5084"/>
              </a:avLst>
            </a:prstGeom>
            <a:solidFill>
              <a:schemeClr val="bg1">
                <a:lumMod val="85000"/>
              </a:scheme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ervice availability</a:t>
              </a:r>
            </a:p>
          </p:txBody>
        </p:sp>
        <p:sp>
          <p:nvSpPr>
            <p:cNvPr id="50" name="TextBox 49">
              <a:extLst>
                <a:ext uri="{FF2B5EF4-FFF2-40B4-BE49-F238E27FC236}">
                  <a16:creationId xmlns:a16="http://schemas.microsoft.com/office/drawing/2014/main" id="{AE99D42B-17D6-4780-84A4-A436BC6AFBFA}"/>
                </a:ext>
              </a:extLst>
            </p:cNvPr>
            <p:cNvSpPr txBox="1"/>
            <p:nvPr/>
          </p:nvSpPr>
          <p:spPr>
            <a:xfrm>
              <a:off x="1420617" y="1181319"/>
              <a:ext cx="3109816" cy="1092607"/>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There was availability of HIV, TB, Malaria and COVID-19 services at facilities of different levels</a:t>
              </a:r>
            </a:p>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lang="en-ZA" sz="1200" kern="0" dirty="0">
                  <a:solidFill>
                    <a:prstClr val="black"/>
                  </a:solidFill>
                  <a:latin typeface="Arial" panose="020B0604020202020204"/>
                </a:rPr>
                <a:t>All facilities provided malaria diagnostics and treatment services</a:t>
              </a:r>
              <a:endParaRPr kumimoji="0" lang="en-ZA" sz="120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C0FAE2FC-DB7A-4E87-8440-EF95344D57E7}"/>
                </a:ext>
              </a:extLst>
            </p:cNvPr>
            <p:cNvSpPr txBox="1"/>
            <p:nvPr/>
          </p:nvSpPr>
          <p:spPr>
            <a:xfrm>
              <a:off x="8381999" y="1181319"/>
              <a:ext cx="3449999" cy="1277273"/>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Continue to support and strengthen facilities to provide TB, Malaria, and HIV services especially in hard-to-reach areas</a:t>
              </a:r>
            </a:p>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lang="en-ZA" sz="1200" kern="0" dirty="0">
                  <a:solidFill>
                    <a:prstClr val="black"/>
                  </a:solidFill>
                  <a:latin typeface="Arial" panose="020B0604020202020204"/>
                </a:rPr>
                <a:t>Update the Master Facility List periodically to reflect the realities of service provision across the country </a:t>
              </a:r>
              <a:endParaRPr kumimoji="0" lang="en-ZA" sz="120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F1DB8D18-6E4E-4B8A-A60B-EF346F633524}"/>
                </a:ext>
              </a:extLst>
            </p:cNvPr>
            <p:cNvSpPr txBox="1"/>
            <p:nvPr/>
          </p:nvSpPr>
          <p:spPr>
            <a:xfrm>
              <a:off x="4830627" y="1181319"/>
              <a:ext cx="3109816" cy="276999"/>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1" u="none" strike="noStrike" kern="0" cap="none" spc="0" normalizeH="0" baseline="0" noProof="0" dirty="0">
                  <a:ln>
                    <a:noFill/>
                  </a:ln>
                  <a:solidFill>
                    <a:prstClr val="black"/>
                  </a:solidFill>
                  <a:effectLst/>
                  <a:uLnTx/>
                  <a:uFillTx/>
                  <a:latin typeface="Arial" panose="020B0604020202020204"/>
                  <a:ea typeface="+mn-ea"/>
                  <a:cs typeface="+mn-cs"/>
                </a:rPr>
                <a:t>Nil</a:t>
              </a:r>
            </a:p>
          </p:txBody>
        </p:sp>
      </p:grpSp>
      <p:grpSp>
        <p:nvGrpSpPr>
          <p:cNvPr id="19" name="Group 18">
            <a:extLst>
              <a:ext uri="{FF2B5EF4-FFF2-40B4-BE49-F238E27FC236}">
                <a16:creationId xmlns:a16="http://schemas.microsoft.com/office/drawing/2014/main" id="{A37AC2BF-E74E-4F6C-8029-1CA2BE208A34}"/>
              </a:ext>
            </a:extLst>
          </p:cNvPr>
          <p:cNvGrpSpPr/>
          <p:nvPr/>
        </p:nvGrpSpPr>
        <p:grpSpPr>
          <a:xfrm>
            <a:off x="125172" y="2578993"/>
            <a:ext cx="11706826" cy="830997"/>
            <a:chOff x="125172" y="2270779"/>
            <a:chExt cx="11706826" cy="830997"/>
          </a:xfrm>
        </p:grpSpPr>
        <p:sp>
          <p:nvSpPr>
            <p:cNvPr id="24" name="Rounded Rectangle 124">
              <a:extLst>
                <a:ext uri="{FF2B5EF4-FFF2-40B4-BE49-F238E27FC236}">
                  <a16:creationId xmlns:a16="http://schemas.microsoft.com/office/drawing/2014/main" id="{890E7F17-0717-4DF0-B9F8-D8626D39EF4B}"/>
                </a:ext>
              </a:extLst>
            </p:cNvPr>
            <p:cNvSpPr/>
            <p:nvPr/>
          </p:nvSpPr>
          <p:spPr>
            <a:xfrm>
              <a:off x="125172" y="2270779"/>
              <a:ext cx="1218257" cy="792000"/>
            </a:xfrm>
            <a:prstGeom prst="roundRect">
              <a:avLst>
                <a:gd name="adj" fmla="val 4031"/>
              </a:avLst>
            </a:prstGeom>
            <a:solidFill>
              <a:schemeClr val="bg1">
                <a:lumMod val="85000"/>
              </a:scheme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On-Shelf Availability</a:t>
              </a:r>
            </a:p>
          </p:txBody>
        </p:sp>
        <p:sp>
          <p:nvSpPr>
            <p:cNvPr id="52" name="TextBox 51">
              <a:extLst>
                <a:ext uri="{FF2B5EF4-FFF2-40B4-BE49-F238E27FC236}">
                  <a16:creationId xmlns:a16="http://schemas.microsoft.com/office/drawing/2014/main" id="{4D18499E-295E-4B97-9CAB-244C76C8B461}"/>
                </a:ext>
              </a:extLst>
            </p:cNvPr>
            <p:cNvSpPr txBox="1"/>
            <p:nvPr/>
          </p:nvSpPr>
          <p:spPr>
            <a:xfrm>
              <a:off x="1420617" y="2270779"/>
              <a:ext cx="3109816" cy="461665"/>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Tracer products were generally available in most facilities visited</a:t>
              </a:r>
            </a:p>
          </p:txBody>
        </p:sp>
        <p:sp>
          <p:nvSpPr>
            <p:cNvPr id="53" name="TextBox 52">
              <a:extLst>
                <a:ext uri="{FF2B5EF4-FFF2-40B4-BE49-F238E27FC236}">
                  <a16:creationId xmlns:a16="http://schemas.microsoft.com/office/drawing/2014/main" id="{083F85F1-35EA-45D4-AC2F-3CFE577B16F3}"/>
                </a:ext>
              </a:extLst>
            </p:cNvPr>
            <p:cNvSpPr txBox="1"/>
            <p:nvPr/>
          </p:nvSpPr>
          <p:spPr>
            <a:xfrm>
              <a:off x="8381999" y="2270779"/>
              <a:ext cx="3449999" cy="830997"/>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Conduct a root-cause </a:t>
              </a:r>
              <a:r>
                <a:rPr kumimoji="0" lang="en-ZA" sz="1200" i="0" u="none" strike="noStrike" kern="0" cap="none" spc="0" normalizeH="0" baseline="0" noProof="0" dirty="0" err="1">
                  <a:ln>
                    <a:noFill/>
                  </a:ln>
                  <a:solidFill>
                    <a:prstClr val="black"/>
                  </a:solidFill>
                  <a:effectLst/>
                  <a:uLnTx/>
                  <a:uFillTx/>
                  <a:latin typeface="Arial" panose="020B0604020202020204"/>
                  <a:ea typeface="+mn-ea"/>
                  <a:cs typeface="+mn-cs"/>
                </a:rPr>
                <a:t>analysi</a:t>
              </a:r>
              <a:r>
                <a:rPr lang="en-ZA" sz="1200" kern="0" dirty="0">
                  <a:solidFill>
                    <a:prstClr val="black"/>
                  </a:solidFill>
                  <a:latin typeface="Arial" panose="020B0604020202020204"/>
                </a:rPr>
                <a:t>s for the stock-outs of TB diagnostics products across the facilities as there was a reported over-stock in all the medical stores visited</a:t>
              </a:r>
              <a:endParaRPr kumimoji="0" lang="en-ZA" sz="120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37558BC8-2E4E-4EEF-BDB3-3D01432A8454}"/>
                </a:ext>
              </a:extLst>
            </p:cNvPr>
            <p:cNvSpPr txBox="1"/>
            <p:nvPr/>
          </p:nvSpPr>
          <p:spPr>
            <a:xfrm>
              <a:off x="4830627" y="2270779"/>
              <a:ext cx="3109816" cy="830997"/>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Gaps still exist in the availability of some key products especially TB diagnostics products &amp; malaria diagnostics in primary and secondary health facilities</a:t>
              </a:r>
            </a:p>
          </p:txBody>
        </p:sp>
      </p:grpSp>
      <p:grpSp>
        <p:nvGrpSpPr>
          <p:cNvPr id="22" name="Group 21">
            <a:extLst>
              <a:ext uri="{FF2B5EF4-FFF2-40B4-BE49-F238E27FC236}">
                <a16:creationId xmlns:a16="http://schemas.microsoft.com/office/drawing/2014/main" id="{B37A47CE-E3DF-40DE-AFCD-07A607B2A5DA}"/>
              </a:ext>
            </a:extLst>
          </p:cNvPr>
          <p:cNvGrpSpPr/>
          <p:nvPr/>
        </p:nvGrpSpPr>
        <p:grpSpPr>
          <a:xfrm>
            <a:off x="125172" y="3522272"/>
            <a:ext cx="11706826" cy="646331"/>
            <a:chOff x="125172" y="3306141"/>
            <a:chExt cx="11706826" cy="646331"/>
          </a:xfrm>
        </p:grpSpPr>
        <p:sp>
          <p:nvSpPr>
            <p:cNvPr id="30" name="Rounded Rectangle 125">
              <a:extLst>
                <a:ext uri="{FF2B5EF4-FFF2-40B4-BE49-F238E27FC236}">
                  <a16:creationId xmlns:a16="http://schemas.microsoft.com/office/drawing/2014/main" id="{452E8C02-E629-4A24-8C80-68C66146C156}"/>
                </a:ext>
              </a:extLst>
            </p:cNvPr>
            <p:cNvSpPr/>
            <p:nvPr/>
          </p:nvSpPr>
          <p:spPr>
            <a:xfrm>
              <a:off x="125172" y="3306141"/>
              <a:ext cx="1218257" cy="601250"/>
            </a:xfrm>
            <a:prstGeom prst="roundRect">
              <a:avLst>
                <a:gd name="adj" fmla="val 5084"/>
              </a:avLst>
            </a:prstGeom>
            <a:solidFill>
              <a:schemeClr val="bg1">
                <a:lumMod val="85000"/>
              </a:scheme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On Time In Full</a:t>
              </a:r>
            </a:p>
          </p:txBody>
        </p:sp>
        <p:sp>
          <p:nvSpPr>
            <p:cNvPr id="54" name="TextBox 53">
              <a:extLst>
                <a:ext uri="{FF2B5EF4-FFF2-40B4-BE49-F238E27FC236}">
                  <a16:creationId xmlns:a16="http://schemas.microsoft.com/office/drawing/2014/main" id="{479B8005-2005-4B4A-851D-7309C612EC1B}"/>
                </a:ext>
              </a:extLst>
            </p:cNvPr>
            <p:cNvSpPr txBox="1"/>
            <p:nvPr/>
          </p:nvSpPr>
          <p:spPr>
            <a:xfrm>
              <a:off x="1420617" y="3306141"/>
              <a:ext cx="3109816" cy="461665"/>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There was a huge gap in the delivery of products especially for TB diagnostics</a:t>
              </a:r>
            </a:p>
          </p:txBody>
        </p:sp>
        <p:sp>
          <p:nvSpPr>
            <p:cNvPr id="55" name="TextBox 54">
              <a:extLst>
                <a:ext uri="{FF2B5EF4-FFF2-40B4-BE49-F238E27FC236}">
                  <a16:creationId xmlns:a16="http://schemas.microsoft.com/office/drawing/2014/main" id="{1F3FCD70-25CE-4F36-87C9-951725A03B7F}"/>
                </a:ext>
              </a:extLst>
            </p:cNvPr>
            <p:cNvSpPr txBox="1"/>
            <p:nvPr/>
          </p:nvSpPr>
          <p:spPr>
            <a:xfrm>
              <a:off x="8381999" y="3306141"/>
              <a:ext cx="3449999" cy="64633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lang="en-ZA" sz="1200" kern="0" dirty="0">
                  <a:solidFill>
                    <a:prstClr val="black"/>
                  </a:solidFill>
                  <a:latin typeface="Arial" panose="020B0604020202020204"/>
                </a:rPr>
                <a:t>Review</a:t>
              </a: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 delivery routes to account for challenges and unexpected delays especially in remote and hard-to-reach regions</a:t>
              </a:r>
            </a:p>
          </p:txBody>
        </p:sp>
        <p:sp>
          <p:nvSpPr>
            <p:cNvPr id="70" name="TextBox 69">
              <a:extLst>
                <a:ext uri="{FF2B5EF4-FFF2-40B4-BE49-F238E27FC236}">
                  <a16:creationId xmlns:a16="http://schemas.microsoft.com/office/drawing/2014/main" id="{3259E5C0-10A6-4DAF-8B35-D605263EE250}"/>
                </a:ext>
              </a:extLst>
            </p:cNvPr>
            <p:cNvSpPr txBox="1"/>
            <p:nvPr/>
          </p:nvSpPr>
          <p:spPr>
            <a:xfrm>
              <a:off x="4830627" y="3306141"/>
              <a:ext cx="3109816" cy="64633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Lateness of deliveries was a large inhibitor to supply chain effectiveness and availability of commodities on shelf</a:t>
              </a:r>
            </a:p>
          </p:txBody>
        </p:sp>
      </p:grpSp>
      <p:grpSp>
        <p:nvGrpSpPr>
          <p:cNvPr id="23" name="Group 22">
            <a:extLst>
              <a:ext uri="{FF2B5EF4-FFF2-40B4-BE49-F238E27FC236}">
                <a16:creationId xmlns:a16="http://schemas.microsoft.com/office/drawing/2014/main" id="{29CA9D2A-DCEF-4BDF-A941-E955665C5B3B}"/>
              </a:ext>
            </a:extLst>
          </p:cNvPr>
          <p:cNvGrpSpPr/>
          <p:nvPr/>
        </p:nvGrpSpPr>
        <p:grpSpPr>
          <a:xfrm>
            <a:off x="125172" y="4280885"/>
            <a:ext cx="11706826" cy="792000"/>
            <a:chOff x="125172" y="4004509"/>
            <a:chExt cx="11706826" cy="792000"/>
          </a:xfrm>
        </p:grpSpPr>
        <p:sp>
          <p:nvSpPr>
            <p:cNvPr id="47" name="Rounded Rectangle 125">
              <a:extLst>
                <a:ext uri="{FF2B5EF4-FFF2-40B4-BE49-F238E27FC236}">
                  <a16:creationId xmlns:a16="http://schemas.microsoft.com/office/drawing/2014/main" id="{D812C25A-0C11-4705-A4BF-6D8976A17EFD}"/>
                </a:ext>
              </a:extLst>
            </p:cNvPr>
            <p:cNvSpPr/>
            <p:nvPr/>
          </p:nvSpPr>
          <p:spPr>
            <a:xfrm>
              <a:off x="125172" y="4004509"/>
              <a:ext cx="1218257" cy="792000"/>
            </a:xfrm>
            <a:prstGeom prst="roundRect">
              <a:avLst>
                <a:gd name="adj" fmla="val 5084"/>
              </a:avLst>
            </a:prstGeom>
            <a:solidFill>
              <a:schemeClr val="bg1">
                <a:lumMod val="85000"/>
              </a:scheme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Stock According To Plan</a:t>
              </a:r>
            </a:p>
          </p:txBody>
        </p:sp>
        <p:sp>
          <p:nvSpPr>
            <p:cNvPr id="56" name="TextBox 55">
              <a:extLst>
                <a:ext uri="{FF2B5EF4-FFF2-40B4-BE49-F238E27FC236}">
                  <a16:creationId xmlns:a16="http://schemas.microsoft.com/office/drawing/2014/main" id="{9B7D74E1-DAE2-439B-AD3B-268E86E5E501}"/>
                </a:ext>
              </a:extLst>
            </p:cNvPr>
            <p:cNvSpPr txBox="1"/>
            <p:nvPr/>
          </p:nvSpPr>
          <p:spPr>
            <a:xfrm>
              <a:off x="1420617" y="4004509"/>
              <a:ext cx="3109816" cy="64633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There was availability of most tracer products at the different medical stores visited</a:t>
              </a:r>
            </a:p>
          </p:txBody>
        </p:sp>
        <p:sp>
          <p:nvSpPr>
            <p:cNvPr id="57" name="TextBox 56">
              <a:extLst>
                <a:ext uri="{FF2B5EF4-FFF2-40B4-BE49-F238E27FC236}">
                  <a16:creationId xmlns:a16="http://schemas.microsoft.com/office/drawing/2014/main" id="{7C1F317D-1F63-434C-8B1D-9C585285A6F1}"/>
                </a:ext>
              </a:extLst>
            </p:cNvPr>
            <p:cNvSpPr txBox="1"/>
            <p:nvPr/>
          </p:nvSpPr>
          <p:spPr>
            <a:xfrm>
              <a:off x="8381999" y="4004509"/>
              <a:ext cx="3449999" cy="64633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Strengthen the data management practices at the medical stores and develop processes to use the data to adjust stock levels as required</a:t>
              </a:r>
            </a:p>
          </p:txBody>
        </p:sp>
        <p:sp>
          <p:nvSpPr>
            <p:cNvPr id="71" name="TextBox 70">
              <a:extLst>
                <a:ext uri="{FF2B5EF4-FFF2-40B4-BE49-F238E27FC236}">
                  <a16:creationId xmlns:a16="http://schemas.microsoft.com/office/drawing/2014/main" id="{B74682BB-874B-4FE5-88E2-7C0836F3FFAA}"/>
                </a:ext>
              </a:extLst>
            </p:cNvPr>
            <p:cNvSpPr txBox="1"/>
            <p:nvPr/>
          </p:nvSpPr>
          <p:spPr>
            <a:xfrm>
              <a:off x="4830627" y="4004509"/>
              <a:ext cx="3109816" cy="64633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lang="en-ZA" sz="1200" kern="0" dirty="0">
                  <a:solidFill>
                    <a:prstClr val="black"/>
                  </a:solidFill>
                  <a:latin typeface="Arial" panose="020B0604020202020204"/>
                </a:rPr>
                <a:t>None of the tracer products was stocked in adequate levels with many products being overstocked at the different stores</a:t>
              </a:r>
              <a:endParaRPr kumimoji="0" lang="en-ZA" sz="1200" i="0" u="none" strike="noStrike" kern="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id="{D681D161-F4EA-4E11-AB18-6D1A441C1D3A}"/>
              </a:ext>
            </a:extLst>
          </p:cNvPr>
          <p:cNvGrpSpPr/>
          <p:nvPr/>
        </p:nvGrpSpPr>
        <p:grpSpPr>
          <a:xfrm>
            <a:off x="151205" y="5185171"/>
            <a:ext cx="11706826" cy="1277273"/>
            <a:chOff x="151205" y="4945680"/>
            <a:chExt cx="11706826" cy="1277273"/>
          </a:xfrm>
        </p:grpSpPr>
        <p:sp>
          <p:nvSpPr>
            <p:cNvPr id="58" name="Rounded Rectangle 125">
              <a:extLst>
                <a:ext uri="{FF2B5EF4-FFF2-40B4-BE49-F238E27FC236}">
                  <a16:creationId xmlns:a16="http://schemas.microsoft.com/office/drawing/2014/main" id="{E22C5631-B4D2-4B60-849C-49A5FD28629B}"/>
                </a:ext>
              </a:extLst>
            </p:cNvPr>
            <p:cNvSpPr/>
            <p:nvPr/>
          </p:nvSpPr>
          <p:spPr>
            <a:xfrm>
              <a:off x="151205" y="4945680"/>
              <a:ext cx="1218257" cy="792000"/>
            </a:xfrm>
            <a:prstGeom prst="roundRect">
              <a:avLst>
                <a:gd name="adj" fmla="val 5084"/>
              </a:avLst>
            </a:prstGeom>
            <a:solidFill>
              <a:schemeClr val="bg1">
                <a:lumMod val="85000"/>
              </a:schemeClr>
            </a:solidFill>
            <a:ln w="3175" cap="flat" cmpd="sng" algn="ctr">
              <a:solidFill>
                <a:schemeClr val="tx1"/>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panose="020B0604020202020204"/>
                  <a:ea typeface="+mn-ea"/>
                  <a:cs typeface="+mn-cs"/>
                </a:rPr>
                <a:t>LMIS</a:t>
              </a:r>
            </a:p>
          </p:txBody>
        </p:sp>
        <p:sp>
          <p:nvSpPr>
            <p:cNvPr id="59" name="TextBox 58">
              <a:extLst>
                <a:ext uri="{FF2B5EF4-FFF2-40B4-BE49-F238E27FC236}">
                  <a16:creationId xmlns:a16="http://schemas.microsoft.com/office/drawing/2014/main" id="{FA26D4EA-746F-418B-A725-8BC84E96A2C6}"/>
                </a:ext>
              </a:extLst>
            </p:cNvPr>
            <p:cNvSpPr txBox="1"/>
            <p:nvPr/>
          </p:nvSpPr>
          <p:spPr>
            <a:xfrm>
              <a:off x="1446650" y="4945680"/>
              <a:ext cx="3109816" cy="1277273"/>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LMIS reporting was varied across the facilities levels with tertiary facilities reporting the most</a:t>
              </a:r>
            </a:p>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LMIS composite scores were relatively high for disease areas apart from COVID-19. </a:t>
              </a:r>
            </a:p>
          </p:txBody>
        </p:sp>
        <p:sp>
          <p:nvSpPr>
            <p:cNvPr id="60" name="TextBox 59">
              <a:extLst>
                <a:ext uri="{FF2B5EF4-FFF2-40B4-BE49-F238E27FC236}">
                  <a16:creationId xmlns:a16="http://schemas.microsoft.com/office/drawing/2014/main" id="{CACE7063-62D6-42E6-9DE6-576456572FC5}"/>
                </a:ext>
              </a:extLst>
            </p:cNvPr>
            <p:cNvSpPr txBox="1"/>
            <p:nvPr/>
          </p:nvSpPr>
          <p:spPr>
            <a:xfrm>
              <a:off x="8408032" y="4945680"/>
              <a:ext cx="3449999" cy="830997"/>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Conduct of LMIS verification should be prioritised during supportive supervision visits especially to primary and tertiary health facilities</a:t>
              </a:r>
            </a:p>
          </p:txBody>
        </p:sp>
        <p:sp>
          <p:nvSpPr>
            <p:cNvPr id="72" name="TextBox 71">
              <a:extLst>
                <a:ext uri="{FF2B5EF4-FFF2-40B4-BE49-F238E27FC236}">
                  <a16:creationId xmlns:a16="http://schemas.microsoft.com/office/drawing/2014/main" id="{76FABD90-B872-402B-AC41-F4B917E2396E}"/>
                </a:ext>
              </a:extLst>
            </p:cNvPr>
            <p:cNvSpPr txBox="1"/>
            <p:nvPr/>
          </p:nvSpPr>
          <p:spPr>
            <a:xfrm>
              <a:off x="4856660" y="4945680"/>
              <a:ext cx="3109816" cy="907941"/>
            </a:xfrm>
            <a:prstGeom prst="rect">
              <a:avLst/>
            </a:prstGeom>
            <a:noFill/>
          </p:spPr>
          <p:txBody>
            <a:bodyPr wrap="square" rtlCol="0">
              <a:spAutoFit/>
            </a:bodyPr>
            <a:lstStyle/>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Reporting rates are still relatively low in primary and secondary facilities</a:t>
              </a:r>
            </a:p>
            <a:p>
              <a:pPr marL="180000" marR="0" lvl="0" indent="-18000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ZA" sz="1200" i="0" u="none" strike="noStrike" kern="0" cap="none" spc="0" normalizeH="0" baseline="0" noProof="0" dirty="0">
                  <a:ln>
                    <a:noFill/>
                  </a:ln>
                  <a:solidFill>
                    <a:prstClr val="black"/>
                  </a:solidFill>
                  <a:effectLst/>
                  <a:uLnTx/>
                  <a:uFillTx/>
                  <a:latin typeface="Arial" panose="020B0604020202020204"/>
                  <a:ea typeface="+mn-ea"/>
                  <a:cs typeface="+mn-cs"/>
                </a:rPr>
                <a:t>Gaps still remain in the accuracy of the reports</a:t>
              </a:r>
            </a:p>
          </p:txBody>
        </p:sp>
      </p:grpSp>
      <p:sp>
        <p:nvSpPr>
          <p:cNvPr id="43" name="Rectangle 42">
            <a:extLst>
              <a:ext uri="{FF2B5EF4-FFF2-40B4-BE49-F238E27FC236}">
                <a16:creationId xmlns:a16="http://schemas.microsoft.com/office/drawing/2014/main" id="{6FBB7614-E655-4A67-9C14-5C58E2B57603}"/>
              </a:ext>
            </a:extLst>
          </p:cNvPr>
          <p:cNvSpPr/>
          <p:nvPr/>
        </p:nvSpPr>
        <p:spPr>
          <a:xfrm>
            <a:off x="9567201" y="57326"/>
            <a:ext cx="2516047" cy="665454"/>
          </a:xfrm>
          <a:prstGeom prst="rect">
            <a:avLst/>
          </a:prstGeom>
          <a:solidFill>
            <a:schemeClr val="accent3"/>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accent1"/>
                </a:solidFill>
              </a:rPr>
              <a:t>Unfinished</a:t>
            </a:r>
          </a:p>
        </p:txBody>
      </p:sp>
    </p:spTree>
    <p:custDataLst>
      <p:tags r:id="rId1"/>
    </p:custDataLst>
    <p:extLst>
      <p:ext uri="{BB962C8B-B14F-4D97-AF65-F5344CB8AC3E}">
        <p14:creationId xmlns:p14="http://schemas.microsoft.com/office/powerpoint/2010/main" val="137453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581969-E09B-4F81-8B27-3477896A62A0}"/>
              </a:ext>
            </a:extLst>
          </p:cNvPr>
          <p:cNvSpPr>
            <a:spLocks noGrp="1"/>
          </p:cNvSpPr>
          <p:nvPr>
            <p:ph type="body" sz="quarter" idx="12"/>
          </p:nvPr>
        </p:nvSpPr>
        <p:spPr>
          <a:xfrm>
            <a:off x="358775" y="2235434"/>
            <a:ext cx="6619074" cy="1271246"/>
          </a:xfrm>
        </p:spPr>
        <p:txBody>
          <a:bodyPr vert="horz" lIns="0" tIns="0" rIns="0" bIns="0" rtlCol="0" anchor="t">
            <a:noAutofit/>
          </a:bodyPr>
          <a:lstStyle/>
          <a:p>
            <a:r>
              <a:rPr lang="en-US" sz="8000"/>
              <a:t>Thank you</a:t>
            </a:r>
          </a:p>
        </p:txBody>
      </p:sp>
    </p:spTree>
    <p:custDataLst>
      <p:custData r:id="rId1"/>
      <p:custData r:id="rId2"/>
    </p:custDataLst>
    <p:extLst>
      <p:ext uri="{BB962C8B-B14F-4D97-AF65-F5344CB8AC3E}">
        <p14:creationId xmlns:p14="http://schemas.microsoft.com/office/powerpoint/2010/main" val="3646505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5F9B7F6-88C2-4E36-A591-7396B030C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15F9B7F6-88C2-4E36-A591-7396B030CF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8D7E4D4-E598-E31A-D2DF-875C73582750}"/>
              </a:ext>
            </a:extLst>
          </p:cNvPr>
          <p:cNvSpPr>
            <a:spLocks noGrp="1"/>
          </p:cNvSpPr>
          <p:nvPr>
            <p:ph type="title"/>
          </p:nvPr>
        </p:nvSpPr>
        <p:spPr>
          <a:xfrm>
            <a:off x="426102" y="132361"/>
            <a:ext cx="11765897" cy="730788"/>
          </a:xfrm>
        </p:spPr>
        <p:txBody>
          <a:bodyPr/>
          <a:lstStyle/>
          <a:p>
            <a:r>
              <a:rPr lang="en-US" sz="3200" dirty="0"/>
              <a:t>Key </a:t>
            </a:r>
            <a:r>
              <a:rPr lang="en-US" sz="3200" dirty="0" err="1"/>
              <a:t>tHFA</a:t>
            </a:r>
            <a:r>
              <a:rPr lang="en-US" sz="3200" dirty="0"/>
              <a:t> sections with KPI and Non-KPI with broader message</a:t>
            </a:r>
          </a:p>
        </p:txBody>
      </p:sp>
      <p:sp>
        <p:nvSpPr>
          <p:cNvPr id="5" name="Rectangle: Rounded Corners 4">
            <a:extLst>
              <a:ext uri="{FF2B5EF4-FFF2-40B4-BE49-F238E27FC236}">
                <a16:creationId xmlns:a16="http://schemas.microsoft.com/office/drawing/2014/main" id="{E98CFBDC-E686-4160-8674-A03CFB860E43}"/>
              </a:ext>
            </a:extLst>
          </p:cNvPr>
          <p:cNvSpPr/>
          <p:nvPr/>
        </p:nvSpPr>
        <p:spPr>
          <a:xfrm>
            <a:off x="426103" y="2022980"/>
            <a:ext cx="5574103" cy="4310087"/>
          </a:xfrm>
          <a:prstGeom prst="roundRect">
            <a:avLst>
              <a:gd name="adj" fmla="val 549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indent="-342900">
              <a:spcBef>
                <a:spcPts val="600"/>
              </a:spcBef>
              <a:spcAft>
                <a:spcPts val="600"/>
              </a:spcAft>
              <a:buFont typeface="+mj-lt"/>
              <a:buAutoNum type="arabicPeriod"/>
            </a:pPr>
            <a:r>
              <a:rPr lang="en-US" sz="1600" dirty="0">
                <a:solidFill>
                  <a:schemeClr val="accent2">
                    <a:lumMod val="75000"/>
                  </a:schemeClr>
                </a:solidFill>
              </a:rPr>
              <a:t>Provision of integrated, people-centered, high-quality services</a:t>
            </a:r>
          </a:p>
          <a:p>
            <a:pPr marL="342900" indent="-342900">
              <a:spcBef>
                <a:spcPts val="600"/>
              </a:spcBef>
              <a:spcAft>
                <a:spcPts val="600"/>
              </a:spcAft>
              <a:buFont typeface="+mj-lt"/>
              <a:buAutoNum type="arabicPeriod"/>
            </a:pPr>
            <a:r>
              <a:rPr lang="en-US" sz="1600" dirty="0">
                <a:solidFill>
                  <a:schemeClr val="accent2">
                    <a:lumMod val="75000"/>
                  </a:schemeClr>
                </a:solidFill>
              </a:rPr>
              <a:t>Provision of integrated supportive supervision</a:t>
            </a:r>
          </a:p>
          <a:p>
            <a:pPr marL="342900" indent="-342900">
              <a:spcBef>
                <a:spcPts val="600"/>
              </a:spcBef>
              <a:spcAft>
                <a:spcPts val="600"/>
              </a:spcAft>
              <a:buFont typeface="+mj-lt"/>
              <a:buAutoNum type="arabicPeriod"/>
            </a:pPr>
            <a:r>
              <a:rPr lang="en-US" sz="1600" dirty="0">
                <a:solidFill>
                  <a:schemeClr val="accent2">
                    <a:lumMod val="75000"/>
                  </a:schemeClr>
                </a:solidFill>
              </a:rPr>
              <a:t>HTM integrated services offered to pregnant women</a:t>
            </a:r>
          </a:p>
          <a:p>
            <a:pPr marL="342900" indent="-342900">
              <a:spcBef>
                <a:spcPts val="600"/>
              </a:spcBef>
              <a:spcAft>
                <a:spcPts val="600"/>
              </a:spcAft>
              <a:buFont typeface="+mj-lt"/>
              <a:buAutoNum type="arabicPeriod"/>
            </a:pPr>
            <a:r>
              <a:rPr lang="en-US" sz="1600" dirty="0">
                <a:solidFill>
                  <a:schemeClr val="accent2">
                    <a:lumMod val="75000"/>
                  </a:schemeClr>
                </a:solidFill>
              </a:rPr>
              <a:t>Systems readiness for community health workers</a:t>
            </a:r>
          </a:p>
          <a:p>
            <a:pPr marL="342900" indent="-342900">
              <a:spcBef>
                <a:spcPts val="600"/>
              </a:spcBef>
              <a:spcAft>
                <a:spcPts val="600"/>
              </a:spcAft>
              <a:buFont typeface="+mj-lt"/>
              <a:buAutoNum type="arabicPeriod"/>
            </a:pPr>
            <a:r>
              <a:rPr lang="en-US" sz="1600" dirty="0">
                <a:solidFill>
                  <a:schemeClr val="accent2">
                    <a:lumMod val="75000"/>
                  </a:schemeClr>
                </a:solidFill>
              </a:rPr>
              <a:t>Percentage of facilities providing effective services. Composite facility level indicator with 7 components</a:t>
            </a:r>
          </a:p>
          <a:p>
            <a:pPr marL="342900" indent="-342900">
              <a:spcBef>
                <a:spcPts val="600"/>
              </a:spcBef>
              <a:spcAft>
                <a:spcPts val="600"/>
              </a:spcAft>
              <a:buFont typeface="+mj-lt"/>
              <a:buAutoNum type="arabicPeriod"/>
            </a:pPr>
            <a:r>
              <a:rPr lang="en-US" sz="1600" dirty="0">
                <a:solidFill>
                  <a:schemeClr val="accent2">
                    <a:lumMod val="75000"/>
                  </a:schemeClr>
                </a:solidFill>
              </a:rPr>
              <a:t>Percentage of community health workers remunerated on time and in-full (as per their contract) every month during the reporting period</a:t>
            </a:r>
          </a:p>
          <a:p>
            <a:pPr marL="342900" indent="-342900">
              <a:spcBef>
                <a:spcPts val="600"/>
              </a:spcBef>
              <a:spcAft>
                <a:spcPts val="600"/>
              </a:spcAft>
              <a:buFont typeface="+mj-lt"/>
              <a:buAutoNum type="arabicPeriod"/>
            </a:pPr>
            <a:r>
              <a:rPr lang="en-US" sz="1600" dirty="0">
                <a:solidFill>
                  <a:schemeClr val="accent2">
                    <a:lumMod val="75000"/>
                  </a:schemeClr>
                </a:solidFill>
              </a:rPr>
              <a:t>Percentage of health service delivery sites with a community-led monitoring mechanism in place</a:t>
            </a:r>
          </a:p>
          <a:p>
            <a:pPr marL="342900" indent="-342900">
              <a:spcBef>
                <a:spcPts val="600"/>
              </a:spcBef>
              <a:spcAft>
                <a:spcPts val="600"/>
              </a:spcAft>
              <a:buFont typeface="+mj-lt"/>
              <a:buAutoNum type="arabicPeriod"/>
            </a:pPr>
            <a:endParaRPr lang="en-US" sz="1600" dirty="0">
              <a:solidFill>
                <a:schemeClr val="accent2">
                  <a:lumMod val="75000"/>
                </a:schemeClr>
              </a:solidFill>
            </a:endParaRPr>
          </a:p>
        </p:txBody>
      </p:sp>
      <p:sp>
        <p:nvSpPr>
          <p:cNvPr id="6" name="Rectangle: Rounded Corners 5">
            <a:extLst>
              <a:ext uri="{FF2B5EF4-FFF2-40B4-BE49-F238E27FC236}">
                <a16:creationId xmlns:a16="http://schemas.microsoft.com/office/drawing/2014/main" id="{4C5CA0DD-D429-46FC-9330-9E0D5558C98C}"/>
              </a:ext>
            </a:extLst>
          </p:cNvPr>
          <p:cNvSpPr/>
          <p:nvPr/>
        </p:nvSpPr>
        <p:spPr>
          <a:xfrm>
            <a:off x="426103" y="1240947"/>
            <a:ext cx="11338560" cy="689729"/>
          </a:xfrm>
          <a:prstGeom prst="roundRect">
            <a:avLst>
              <a:gd name="adj" fmla="val 5495"/>
            </a:avLst>
          </a:prstGeom>
          <a:solidFill>
            <a:srgbClr val="EB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600"/>
              </a:spcBef>
              <a:spcAft>
                <a:spcPts val="600"/>
              </a:spcAft>
            </a:pPr>
            <a:r>
              <a:rPr lang="en-US" sz="1700" dirty="0">
                <a:solidFill>
                  <a:schemeClr val="accent2">
                    <a:lumMod val="75000"/>
                  </a:schemeClr>
                </a:solidFill>
              </a:rPr>
              <a:t>The objective of t-HFA is to assess the impact of GF’s investments on the readiness of the health facilities to provide and deliver quality HIV, TB and Malaria care the t-HFA measures the following 10 quantitative KPIs:</a:t>
            </a:r>
          </a:p>
        </p:txBody>
      </p:sp>
      <p:cxnSp>
        <p:nvCxnSpPr>
          <p:cNvPr id="7" name="Straight Connector 6">
            <a:extLst>
              <a:ext uri="{FF2B5EF4-FFF2-40B4-BE49-F238E27FC236}">
                <a16:creationId xmlns:a16="http://schemas.microsoft.com/office/drawing/2014/main" id="{0E8F7306-67C1-4786-B1A9-619081DDC54D}"/>
              </a:ext>
            </a:extLst>
          </p:cNvPr>
          <p:cNvCxnSpPr/>
          <p:nvPr/>
        </p:nvCxnSpPr>
        <p:spPr>
          <a:xfrm>
            <a:off x="426103" y="1965512"/>
            <a:ext cx="113385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5AC0B599-87A6-4778-BFCF-7EBCF63FFC31}"/>
              </a:ext>
            </a:extLst>
          </p:cNvPr>
          <p:cNvSpPr/>
          <p:nvPr/>
        </p:nvSpPr>
        <p:spPr>
          <a:xfrm>
            <a:off x="6095383" y="2022980"/>
            <a:ext cx="5574103" cy="4450874"/>
          </a:xfrm>
          <a:prstGeom prst="roundRect">
            <a:avLst>
              <a:gd name="adj" fmla="val 549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indent="-342900">
              <a:spcBef>
                <a:spcPts val="600"/>
              </a:spcBef>
              <a:spcAft>
                <a:spcPts val="600"/>
              </a:spcAft>
              <a:buFont typeface="+mj-lt"/>
              <a:buAutoNum type="arabicPeriod" startAt="8"/>
            </a:pPr>
            <a:r>
              <a:rPr lang="en-US" sz="1600" dirty="0">
                <a:solidFill>
                  <a:schemeClr val="accent2">
                    <a:lumMod val="75000"/>
                  </a:schemeClr>
                </a:solidFill>
              </a:rPr>
              <a:t>Percentage of facilities with written and updated clinical guidelines for HIV, TB, malaria and/or PHC (based on the services provided) developed by the national or sub-national government (as appropriate by the country context)</a:t>
            </a:r>
          </a:p>
          <a:p>
            <a:pPr marL="342900" indent="-342900">
              <a:spcBef>
                <a:spcPts val="600"/>
              </a:spcBef>
              <a:spcAft>
                <a:spcPts val="600"/>
              </a:spcAft>
              <a:buFont typeface="+mj-lt"/>
              <a:buAutoNum type="arabicPeriod" startAt="8"/>
            </a:pPr>
            <a:r>
              <a:rPr lang="en-US" sz="1600" dirty="0">
                <a:solidFill>
                  <a:schemeClr val="accent2">
                    <a:lumMod val="75000"/>
                  </a:schemeClr>
                </a:solidFill>
              </a:rPr>
              <a:t>Percentage of health facilities able to provide oxygen therapy related services among those providing the service</a:t>
            </a:r>
          </a:p>
          <a:p>
            <a:pPr marL="342900" indent="-342900">
              <a:spcBef>
                <a:spcPts val="600"/>
              </a:spcBef>
              <a:spcAft>
                <a:spcPts val="600"/>
              </a:spcAft>
              <a:buFont typeface="+mj-lt"/>
              <a:buAutoNum type="arabicPeriod" startAt="8"/>
            </a:pPr>
            <a:r>
              <a:rPr lang="en-US" sz="1600" dirty="0">
                <a:solidFill>
                  <a:schemeClr val="accent2">
                    <a:lumMod val="75000"/>
                  </a:schemeClr>
                </a:solidFill>
              </a:rPr>
              <a:t>Percentage of health facilities that have an appropriate set of diagnostics for their healthcare facility level, based on adapted WHO model list of essential in vitro diagnostics</a:t>
            </a:r>
          </a:p>
          <a:p>
            <a:pPr marL="342900" indent="-342900">
              <a:spcBef>
                <a:spcPts val="600"/>
              </a:spcBef>
              <a:spcAft>
                <a:spcPts val="600"/>
              </a:spcAft>
              <a:buFont typeface="+mj-lt"/>
              <a:buAutoNum type="arabicPeriod" startAt="8"/>
            </a:pPr>
            <a:r>
              <a:rPr lang="en-US" sz="1600" dirty="0">
                <a:solidFill>
                  <a:schemeClr val="accent2">
                    <a:lumMod val="75000"/>
                  </a:schemeClr>
                </a:solidFill>
              </a:rPr>
              <a:t>Vacancy score</a:t>
            </a:r>
          </a:p>
        </p:txBody>
      </p:sp>
    </p:spTree>
    <p:extLst>
      <p:ext uri="{BB962C8B-B14F-4D97-AF65-F5344CB8AC3E}">
        <p14:creationId xmlns:p14="http://schemas.microsoft.com/office/powerpoint/2010/main" val="1547639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95D5A-D85C-AD46-A33E-3A4974D0FAA5}"/>
              </a:ext>
            </a:extLst>
          </p:cNvPr>
          <p:cNvSpPr>
            <a:spLocks noGrp="1"/>
          </p:cNvSpPr>
          <p:nvPr>
            <p:ph type="title"/>
          </p:nvPr>
        </p:nvSpPr>
        <p:spPr>
          <a:xfrm>
            <a:off x="360000" y="327848"/>
            <a:ext cx="10972800" cy="493200"/>
          </a:xfrm>
        </p:spPr>
        <p:txBody>
          <a:bodyPr/>
          <a:lstStyle/>
          <a:p>
            <a:r>
              <a:rPr lang="en-US"/>
              <a:t> Table of Contents</a:t>
            </a:r>
          </a:p>
        </p:txBody>
      </p:sp>
      <p:sp>
        <p:nvSpPr>
          <p:cNvPr id="25" name="Rectangle 24">
            <a:extLst>
              <a:ext uri="{FF2B5EF4-FFF2-40B4-BE49-F238E27FC236}">
                <a16:creationId xmlns:a16="http://schemas.microsoft.com/office/drawing/2014/main" id="{0A2EEB32-D28D-4D29-B33C-4EB88C2650C1}"/>
              </a:ext>
            </a:extLst>
          </p:cNvPr>
          <p:cNvSpPr/>
          <p:nvPr/>
        </p:nvSpPr>
        <p:spPr>
          <a:xfrm>
            <a:off x="8213277" y="1682961"/>
            <a:ext cx="3034857" cy="3776939"/>
          </a:xfrm>
          <a:prstGeom prst="rect">
            <a:avLst/>
          </a:prstGeom>
          <a:no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478958" y="2124347"/>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EE0C3D"/>
                </a:solidFill>
                <a:latin typeface="+mj-lt"/>
              </a:rPr>
              <a:t>3. Key Findings </a:t>
            </a:r>
          </a:p>
          <a:p>
            <a:pPr algn="ctr">
              <a:lnSpc>
                <a:spcPct val="110000"/>
              </a:lnSpc>
              <a:defRPr/>
            </a:pPr>
            <a:r>
              <a:rPr lang="en-US" b="1">
                <a:solidFill>
                  <a:srgbClr val="EE0C3D"/>
                </a:solidFill>
                <a:latin typeface="+mj-lt"/>
              </a:rPr>
              <a:t>and Insights</a:t>
            </a:r>
            <a:endParaRPr lang="en-US">
              <a:latin typeface="+mj-lt"/>
              <a:ea typeface="+mn-lt"/>
              <a:cs typeface="+mn-lt"/>
            </a:endParaRPr>
          </a:p>
          <a:p>
            <a:pPr>
              <a:lnSpc>
                <a:spcPct val="110000"/>
              </a:lnSpc>
              <a:defRPr/>
            </a:pPr>
            <a:endParaRPr lang="en-US" sz="1800" b="0" i="0" u="none" strike="noStrike" kern="1200" cap="none" spc="0" normalizeH="0" baseline="0" noProof="0">
              <a:ln>
                <a:noFill/>
              </a:ln>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326010" y="1079315"/>
            <a:ext cx="972000" cy="972000"/>
          </a:xfrm>
          <a:prstGeom prst="ellipse">
            <a:avLst/>
          </a:prstGeom>
          <a:solidFill>
            <a:schemeClr val="accent1"/>
          </a:solidFill>
          <a:ln w="381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395701" y="1664035"/>
            <a:ext cx="3049234" cy="3778336"/>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05604" y="2251799"/>
            <a:ext cx="1988953" cy="326636"/>
          </a:xfrm>
          <a:prstGeom prst="rect">
            <a:avLst/>
          </a:prstGeom>
          <a:noFill/>
        </p:spPr>
        <p:txBody>
          <a:bodyPr wrap="square" lIns="0" tIns="0" rIns="0" bIns="0" rtlCol="0" anchor="t">
            <a:noAutofit/>
          </a:bodyPr>
          <a:lstStyle/>
          <a:p>
            <a:pPr algn="ctr">
              <a:lnSpc>
                <a:spcPct val="110000"/>
              </a:lnSpc>
              <a:defRPr/>
            </a:pPr>
            <a:r>
              <a:rPr lang="en-US" b="1">
                <a:solidFill>
                  <a:srgbClr val="FAD90D"/>
                </a:solidFill>
                <a:latin typeface="+mj-lt"/>
              </a:rPr>
              <a:t>2. Methodology</a:t>
            </a:r>
            <a:endParaRPr lang="en-US" sz="1800" b="1" i="0" u="none" strike="noStrike" kern="1200" cap="none" spc="0" normalizeH="0" baseline="0" noProof="0">
              <a:ln>
                <a:noFill/>
              </a:ln>
              <a:solidFill>
                <a:srgbClr val="FAD90D"/>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609600" y="1682961"/>
            <a:ext cx="3059504" cy="3759410"/>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4DF9"/>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912050" y="2137892"/>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648862" y="1078156"/>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423061" y="1149818"/>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6298" y="1150370"/>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65461" y="1098692"/>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84245" y="1143599"/>
            <a:ext cx="798654" cy="789010"/>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836440" y="3378885"/>
            <a:ext cx="2596843" cy="1283910"/>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21041" y="3064329"/>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rgbClr val="000000"/>
                </a:solidFill>
                <a:effectLst/>
                <a:uLnTx/>
                <a:uFillTx/>
                <a:latin typeface="Arial" panose="020B0604020202020204"/>
                <a:ea typeface="+mn-ea"/>
                <a:cs typeface="+mn-cs"/>
              </a:rPr>
              <a:t>Provides a description of </a:t>
            </a:r>
            <a:r>
              <a:rPr lang="en-US" kern="0">
                <a:solidFill>
                  <a:srgbClr val="000000"/>
                </a:solidFill>
                <a:latin typeface="Arial" panose="020B0604020202020204"/>
              </a:rPr>
              <a:t>the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rgbClr val="2E4DF9"/>
                </a:solidFill>
                <a:effectLst/>
                <a:uLnTx/>
                <a:uFillTx/>
                <a:latin typeface="Arial" panose="020B0604020202020204"/>
                <a:ea typeface="+mn-ea"/>
                <a:cs typeface="+mn-cs"/>
              </a:rPr>
              <a:t> </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000000"/>
                </a:solidFill>
                <a:effectLst/>
                <a:uLnTx/>
                <a:uFillTx/>
                <a:latin typeface="Arial" panose="020B0604020202020204"/>
                <a:ea typeface="+mn-ea"/>
                <a:cs typeface="+mn-cs"/>
              </a:rPr>
              <a:t> approach, as well as challenges encountered in methodology, if any</a:t>
            </a:r>
            <a:r>
              <a:rPr lang="en-US" kern="0">
                <a:solidFill>
                  <a:srgbClr val="000000"/>
                </a:solidFill>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331766" y="3566863"/>
            <a:ext cx="2734325" cy="667032"/>
          </a:xfrm>
          <a:prstGeom prst="rect">
            <a:avLst/>
          </a:prstGeom>
          <a:noFill/>
        </p:spPr>
        <p:txBody>
          <a:bodyPr wrap="square" lIns="0" tIns="0" rIns="0" bIns="0" rtlCol="0" anchor="t">
            <a:noAutofit/>
          </a:bodyPr>
          <a:lstStyle/>
          <a:p>
            <a:pPr algn="ctr">
              <a:lnSpc>
                <a:spcPct val="110000"/>
              </a:lnSpc>
              <a:defRPr/>
            </a:pPr>
            <a:r>
              <a:rPr lang="en-US">
                <a:latin typeface="Arial"/>
              </a:rPr>
              <a:t>Reflects the </a:t>
            </a:r>
            <a:r>
              <a:rPr lang="en-US" b="1">
                <a:solidFill>
                  <a:schemeClr val="accent1"/>
                </a:solidFill>
                <a:latin typeface="Arial"/>
              </a:rPr>
              <a:t>key findings and highlights</a:t>
            </a:r>
            <a:r>
              <a:rPr lang="en-US">
                <a:latin typeface="Arial"/>
              </a:rPr>
              <a:t>.</a:t>
            </a:r>
            <a:endParaRPr lang="en-US">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632095" y="2885831"/>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413158" y="2885830"/>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184576" y="2885831"/>
            <a:ext cx="3028707" cy="0"/>
          </a:xfrm>
          <a:prstGeom prst="straightConnector1">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sp>
        <p:nvSpPr>
          <p:cNvPr id="3" name="Slide Number Placeholder 2">
            <a:extLst>
              <a:ext uri="{FF2B5EF4-FFF2-40B4-BE49-F238E27FC236}">
                <a16:creationId xmlns:a16="http://schemas.microsoft.com/office/drawing/2014/main" id="{1E54EDF3-54D9-402F-65D0-90971869D121}"/>
              </a:ext>
            </a:extLst>
          </p:cNvPr>
          <p:cNvSpPr>
            <a:spLocks noGrp="1"/>
          </p:cNvSpPr>
          <p:nvPr>
            <p:ph type="sldNum" sz="quarter" idx="23"/>
          </p:nvPr>
        </p:nvSpPr>
        <p:spPr/>
        <p:txBody>
          <a:bodyPr/>
          <a:lstStyle/>
          <a:p>
            <a:fld id="{1B2D2347-4BA4-BC41-B48C-85D3549E683F}" type="slidenum">
              <a:rPr lang="en-US" smtClean="0"/>
              <a:pPr/>
              <a:t>4</a:t>
            </a:fld>
            <a:endParaRPr lang="en-US"/>
          </a:p>
        </p:txBody>
      </p:sp>
      <p:sp>
        <p:nvSpPr>
          <p:cNvPr id="5" name="Right Arrow 15">
            <a:extLst>
              <a:ext uri="{FF2B5EF4-FFF2-40B4-BE49-F238E27FC236}">
                <a16:creationId xmlns:a16="http://schemas.microsoft.com/office/drawing/2014/main" id="{31EB5FFA-8AF0-55EA-898F-B170F0FA600B}"/>
              </a:ext>
            </a:extLst>
          </p:cNvPr>
          <p:cNvSpPr/>
          <p:nvPr/>
        </p:nvSpPr>
        <p:spPr bwMode="auto">
          <a:xfrm>
            <a:off x="360000" y="5696406"/>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8050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284074" y="1413053"/>
            <a:ext cx="3030873" cy="3739223"/>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47880" y="1849350"/>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28906" y="7892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498597" y="1412521"/>
            <a:ext cx="3049234" cy="3739755"/>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89204" y="1927591"/>
            <a:ext cx="1968964" cy="326636"/>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2. Methodology</a:t>
            </a:r>
            <a:endParaRPr lang="en-US" sz="1800" b="1" i="0" u="none" strike="noStrike" kern="1200" cap="none" spc="0" normalizeH="0" baseline="0" noProof="0">
              <a:ln>
                <a:noFill/>
              </a:ln>
              <a:solidFill>
                <a:srgbClr val="D1D3D4"/>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2496" y="1372079"/>
            <a:ext cx="3050324" cy="3780197"/>
          </a:xfrm>
          <a:prstGeom prst="rect">
            <a:avLst/>
          </a:prstGeom>
          <a:noFill/>
          <a:ln w="571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2" name="Oval 41">
            <a:extLst>
              <a:ext uri="{FF2B5EF4-FFF2-40B4-BE49-F238E27FC236}">
                <a16:creationId xmlns:a16="http://schemas.microsoft.com/office/drawing/2014/main" id="{D752D393-E019-4B63-B672-BA73C4B9C2D8}"/>
              </a:ext>
            </a:extLst>
          </p:cNvPr>
          <p:cNvSpPr/>
          <p:nvPr/>
        </p:nvSpPr>
        <p:spPr>
          <a:xfrm>
            <a:off x="1746466" y="850300"/>
            <a:ext cx="972000" cy="972000"/>
          </a:xfrm>
          <a:prstGeom prst="ellipse">
            <a:avLst/>
          </a:prstGeom>
          <a:solidFill>
            <a:schemeClr val="accent2"/>
          </a:solidFill>
          <a:ln w="3810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18906" y="914612"/>
            <a:ext cx="914400" cy="9144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44013" y="939548"/>
            <a:ext cx="817944" cy="798654"/>
          </a:xfrm>
          <a:prstGeom prst="rect">
            <a:avLst/>
          </a:prstGeom>
        </p:spPr>
      </p:pic>
      <p:pic>
        <p:nvPicPr>
          <p:cNvPr id="15" name="Graphic 15" descr="Gears outline">
            <a:extLst>
              <a:ext uri="{FF2B5EF4-FFF2-40B4-BE49-F238E27FC236}">
                <a16:creationId xmlns:a16="http://schemas.microsoft.com/office/drawing/2014/main" id="{0C4042B3-C31D-1ABF-267C-5FD9046C49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7686" y="884680"/>
            <a:ext cx="972000" cy="972000"/>
          </a:xfrm>
          <a:prstGeom prst="rect">
            <a:avLst/>
          </a:prstGeom>
        </p:spPr>
      </p:pic>
      <p:pic>
        <p:nvPicPr>
          <p:cNvPr id="16" name="Graphic 16" descr="Bar graph with upward trend outline">
            <a:extLst>
              <a:ext uri="{FF2B5EF4-FFF2-40B4-BE49-F238E27FC236}">
                <a16:creationId xmlns:a16="http://schemas.microsoft.com/office/drawing/2014/main" id="{F9D5053F-04A3-7482-77A4-2B2C4AC46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87141" y="872795"/>
            <a:ext cx="798654" cy="789010"/>
          </a:xfrm>
          <a:prstGeom prst="rect">
            <a:avLst/>
          </a:prstGeom>
        </p:spPr>
      </p:pic>
      <p:sp>
        <p:nvSpPr>
          <p:cNvPr id="24" name="TextBox 23">
            <a:extLst>
              <a:ext uri="{FF2B5EF4-FFF2-40B4-BE49-F238E27FC236}">
                <a16:creationId xmlns:a16="http://schemas.microsoft.com/office/drawing/2014/main" id="{9575ACB4-DDD0-3026-D72B-C03664AAC6F6}"/>
              </a:ext>
            </a:extLst>
          </p:cNvPr>
          <p:cNvSpPr txBox="1"/>
          <p:nvPr/>
        </p:nvSpPr>
        <p:spPr>
          <a:xfrm>
            <a:off x="8441779" y="3281735"/>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34991" y="2595736"/>
            <a:ext cx="3028707" cy="0"/>
          </a:xfrm>
          <a:prstGeom prst="straightConnector1">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16054" y="2595735"/>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287472" y="259573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sp>
        <p:nvSpPr>
          <p:cNvPr id="23" name="Rectangle 22">
            <a:extLst>
              <a:ext uri="{FF2B5EF4-FFF2-40B4-BE49-F238E27FC236}">
                <a16:creationId xmlns:a16="http://schemas.microsoft.com/office/drawing/2014/main" id="{16F112B5-72EB-4B69-8600-8983F40F96B3}"/>
              </a:ext>
            </a:extLst>
          </p:cNvPr>
          <p:cNvSpPr/>
          <p:nvPr/>
        </p:nvSpPr>
        <p:spPr>
          <a:xfrm>
            <a:off x="950922" y="3031212"/>
            <a:ext cx="2596843" cy="123478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dirty="0">
                <a:ln>
                  <a:noFill/>
                </a:ln>
                <a:effectLst/>
                <a:uLnTx/>
                <a:uFillTx/>
                <a:latin typeface="Arial" panose="020B0604020202020204"/>
                <a:ea typeface="+mn-ea"/>
                <a:cs typeface="+mn-cs"/>
              </a:rPr>
              <a:t>Summarizes the </a:t>
            </a:r>
            <a:r>
              <a:rPr kumimoji="0" lang="en-US" b="1" i="0" u="none" strike="noStrike" kern="0" cap="none" spc="0" normalizeH="0" baseline="0" noProof="0" dirty="0">
                <a:ln>
                  <a:noFill/>
                </a:ln>
                <a:solidFill>
                  <a:schemeClr val="accent2"/>
                </a:solidFill>
                <a:effectLst/>
                <a:uLnTx/>
                <a:uFillTx/>
                <a:latin typeface="Arial" panose="020B0604020202020204"/>
                <a:ea typeface="+mn-ea"/>
                <a:cs typeface="+mn-cs"/>
              </a:rPr>
              <a:t>scope</a:t>
            </a:r>
            <a:r>
              <a:rPr lang="en-US" b="1" kern="0" dirty="0">
                <a:solidFill>
                  <a:schemeClr val="accent2"/>
                </a:solidFill>
                <a:latin typeface="Arial" panose="020B0604020202020204"/>
              </a:rPr>
              <a:t>, key findings and highlights </a:t>
            </a:r>
            <a:r>
              <a:rPr lang="en-US" kern="0" dirty="0">
                <a:latin typeface="Arial" panose="020B0604020202020204"/>
              </a:rPr>
              <a:t>for the country.</a:t>
            </a:r>
            <a:endParaRPr lang="en-US" dirty="0">
              <a:cs typeface="Arial"/>
            </a:endParaRPr>
          </a:p>
        </p:txBody>
      </p:sp>
      <p:sp>
        <p:nvSpPr>
          <p:cNvPr id="27" name="Rectangle 26">
            <a:extLst>
              <a:ext uri="{FF2B5EF4-FFF2-40B4-BE49-F238E27FC236}">
                <a16:creationId xmlns:a16="http://schemas.microsoft.com/office/drawing/2014/main" id="{8CFE9525-5974-4DA1-9023-6C5D552092CC}"/>
              </a:ext>
            </a:extLst>
          </p:cNvPr>
          <p:cNvSpPr/>
          <p:nvPr/>
        </p:nvSpPr>
        <p:spPr>
          <a:xfrm>
            <a:off x="4703064" y="2737558"/>
            <a:ext cx="2640300"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Provides a description of </a:t>
            </a:r>
            <a:r>
              <a:rPr lang="en-US" kern="0">
                <a:solidFill>
                  <a:schemeClr val="bg2">
                    <a:lumMod val="90000"/>
                  </a:schemeClr>
                </a:solidFill>
                <a:latin typeface="Arial" panose="020B0604020202020204"/>
              </a:rPr>
              <a:t>the </a:t>
            </a:r>
            <a:r>
              <a:rPr lang="en-US" b="1" kern="0">
                <a:solidFill>
                  <a:schemeClr val="bg2">
                    <a:lumMod val="90000"/>
                  </a:schemeClr>
                </a:solidFill>
                <a:latin typeface="Arial" panose="020B0604020202020204"/>
              </a:rPr>
              <a:t>sampling</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bg2">
                    <a:lumMod val="90000"/>
                  </a:schemeClr>
                </a:solidFill>
                <a:effectLst/>
                <a:uLnTx/>
                <a:uFillTx/>
                <a:latin typeface="Arial" panose="020B0604020202020204"/>
                <a:ea typeface="+mn-ea"/>
                <a:cs typeface="+mn-cs"/>
              </a:rPr>
              <a:t>analysis</a:t>
            </a:r>
            <a:r>
              <a:rPr kumimoji="0" lang="en-US" b="0" i="0" u="none" strike="noStrike" kern="0" cap="none" spc="0" normalizeH="0" baseline="0" noProof="0">
                <a:ln>
                  <a:noFill/>
                </a:ln>
                <a:solidFill>
                  <a:schemeClr val="bg2">
                    <a:lumMod val="90000"/>
                  </a:schemeClr>
                </a:solidFill>
                <a:effectLst/>
                <a:uLnTx/>
                <a:uFillTx/>
                <a:latin typeface="Arial" panose="020B0604020202020204"/>
                <a:ea typeface="+mn-ea"/>
                <a:cs typeface="+mn-cs"/>
              </a:rPr>
              <a:t> approach, as well as challenges encountered in methodology, if any</a:t>
            </a:r>
            <a:r>
              <a:rPr lang="en-US" kern="0">
                <a:solidFill>
                  <a:schemeClr val="bg2">
                    <a:lumMod val="90000"/>
                  </a:schemeClr>
                </a:solidFill>
                <a:latin typeface="Arial" panose="020B0604020202020204"/>
              </a:rPr>
              <a:t>.</a:t>
            </a:r>
            <a:endParaRPr lang="en-US">
              <a:solidFill>
                <a:schemeClr val="bg2">
                  <a:lumMod val="90000"/>
                </a:schemeClr>
              </a:solidFill>
              <a:cs typeface="Arial"/>
            </a:endParaRPr>
          </a:p>
        </p:txBody>
      </p:sp>
      <p:sp>
        <p:nvSpPr>
          <p:cNvPr id="2" name="Slide Number Placeholder 1">
            <a:extLst>
              <a:ext uri="{FF2B5EF4-FFF2-40B4-BE49-F238E27FC236}">
                <a16:creationId xmlns:a16="http://schemas.microsoft.com/office/drawing/2014/main" id="{008AD76C-0102-5FBE-3448-1CD74C8B8815}"/>
              </a:ext>
            </a:extLst>
          </p:cNvPr>
          <p:cNvSpPr>
            <a:spLocks noGrp="1"/>
          </p:cNvSpPr>
          <p:nvPr>
            <p:ph type="sldNum" sz="quarter" idx="23"/>
          </p:nvPr>
        </p:nvSpPr>
        <p:spPr/>
        <p:txBody>
          <a:bodyPr/>
          <a:lstStyle/>
          <a:p>
            <a:fld id="{1B2D2347-4BA4-BC41-B48C-85D3549E683F}" type="slidenum">
              <a:rPr lang="en-US" smtClean="0"/>
              <a:pPr/>
              <a:t>5</a:t>
            </a:fld>
            <a:endParaRPr lang="en-US"/>
          </a:p>
        </p:txBody>
      </p:sp>
      <p:sp>
        <p:nvSpPr>
          <p:cNvPr id="5" name="TextBox 4">
            <a:extLst>
              <a:ext uri="{FF2B5EF4-FFF2-40B4-BE49-F238E27FC236}">
                <a16:creationId xmlns:a16="http://schemas.microsoft.com/office/drawing/2014/main" id="{9B18F324-DCD5-1323-110D-E43C559EFF93}"/>
              </a:ext>
            </a:extLst>
          </p:cNvPr>
          <p:cNvSpPr txBox="1"/>
          <p:nvPr/>
        </p:nvSpPr>
        <p:spPr>
          <a:xfrm>
            <a:off x="1014946" y="1843477"/>
            <a:ext cx="2377440" cy="370203"/>
          </a:xfrm>
          <a:prstGeom prst="rect">
            <a:avLst/>
          </a:prstGeom>
          <a:noFill/>
        </p:spPr>
        <p:txBody>
          <a:bodyPr wrap="square" lIns="0" tIns="0" rIns="0" bIns="0" rtlCol="0" anchor="t">
            <a:noAutofit/>
          </a:bodyPr>
          <a:lstStyle/>
          <a:p>
            <a:pPr algn="ctr">
              <a:lnSpc>
                <a:spcPct val="110000"/>
              </a:lnSpc>
              <a:defRPr/>
            </a:pPr>
            <a:r>
              <a:rPr lang="en-US" b="1">
                <a:solidFill>
                  <a:srgbClr val="2E4DF9"/>
                </a:solidFill>
                <a:latin typeface="+mj-lt"/>
              </a:rPr>
              <a:t>1. Executive Summary</a:t>
            </a:r>
            <a:endParaRPr lang="en-US" b="1">
              <a:solidFill>
                <a:srgbClr val="2E4DF9"/>
              </a:solidFill>
              <a:latin typeface="+mj-lt"/>
              <a:cs typeface="Arial"/>
            </a:endParaRPr>
          </a:p>
          <a:p>
            <a:pPr>
              <a:lnSpc>
                <a:spcPct val="110000"/>
              </a:lnSpc>
              <a:defRPr/>
            </a:pPr>
            <a:endParaRPr lang="en-US" sz="1800" b="0" i="0" u="none" strike="noStrike" kern="1200" cap="none" spc="0" normalizeH="0" baseline="0" noProof="0">
              <a:ln>
                <a:noFill/>
              </a:ln>
              <a:solidFill>
                <a:srgbClr val="2E4DF9"/>
              </a:solidFill>
              <a:effectLst/>
              <a:uLnTx/>
              <a:uFillTx/>
              <a:latin typeface="+mj-lt"/>
              <a:cs typeface="Arial"/>
            </a:endParaRPr>
          </a:p>
        </p:txBody>
      </p:sp>
      <p:sp>
        <p:nvSpPr>
          <p:cNvPr id="10" name="Right Arrow 15">
            <a:extLst>
              <a:ext uri="{FF2B5EF4-FFF2-40B4-BE49-F238E27FC236}">
                <a16:creationId xmlns:a16="http://schemas.microsoft.com/office/drawing/2014/main" id="{327FA60B-C2F6-C024-0A76-62AA4271BCA3}"/>
              </a:ext>
            </a:extLst>
          </p:cNvPr>
          <p:cNvSpPr/>
          <p:nvPr/>
        </p:nvSpPr>
        <p:spPr bwMode="auto">
          <a:xfrm>
            <a:off x="360000" y="550109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51258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7D9EA9-B8A8-46B8-B3E4-A576816AF3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D7D9EA9-B8A8-46B8-B3E4-A576816AF3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4" name="Title 1">
            <a:extLst>
              <a:ext uri="{FF2B5EF4-FFF2-40B4-BE49-F238E27FC236}">
                <a16:creationId xmlns:a16="http://schemas.microsoft.com/office/drawing/2014/main" id="{1AA61765-8007-46DF-9211-25D9D253AD59}"/>
              </a:ext>
            </a:extLst>
          </p:cNvPr>
          <p:cNvSpPr txBox="1">
            <a:spLocks/>
          </p:cNvSpPr>
          <p:nvPr/>
        </p:nvSpPr>
        <p:spPr>
          <a:xfrm>
            <a:off x="246087" y="22938"/>
            <a:ext cx="10972800" cy="493200"/>
          </a:xfrm>
          <a:prstGeom prst="rect">
            <a:avLst/>
          </a:prstGeom>
        </p:spPr>
        <p:txBody>
          <a:bodyPr lIns="91440" tIns="45720" rIns="91440" bIns="45720"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0" i="0" u="none" strike="noStrike" kern="1200" cap="none" spc="0" normalizeH="0" baseline="0" noProof="0">
                <a:ln>
                  <a:noFill/>
                </a:ln>
                <a:solidFill>
                  <a:prstClr val="black"/>
                </a:solidFill>
                <a:effectLst/>
                <a:uLnTx/>
                <a:uFillTx/>
                <a:latin typeface="Arial Black"/>
                <a:ea typeface="+mj-ea"/>
                <a:cs typeface="+mj-cs"/>
              </a:rPr>
              <a:t>Executive Summary</a:t>
            </a:r>
          </a:p>
        </p:txBody>
      </p:sp>
      <p:cxnSp>
        <p:nvCxnSpPr>
          <p:cNvPr id="141" name="Straight Connector 140">
            <a:extLst>
              <a:ext uri="{FF2B5EF4-FFF2-40B4-BE49-F238E27FC236}">
                <a16:creationId xmlns:a16="http://schemas.microsoft.com/office/drawing/2014/main" id="{8621F95A-347A-4AC6-9317-D81B854B0B8B}"/>
              </a:ext>
            </a:extLst>
          </p:cNvPr>
          <p:cNvCxnSpPr/>
          <p:nvPr/>
        </p:nvCxnSpPr>
        <p:spPr>
          <a:xfrm>
            <a:off x="-3926" y="6786322"/>
            <a:ext cx="12204000" cy="0"/>
          </a:xfrm>
          <a:prstGeom prst="line">
            <a:avLst/>
          </a:prstGeom>
          <a:noFill/>
          <a:ln w="3175" cap="flat" cmpd="sng" algn="ctr">
            <a:solidFill>
              <a:srgbClr val="002960"/>
            </a:solidFill>
            <a:prstDash val="solid"/>
          </a:ln>
          <a:effectLst/>
        </p:spPr>
      </p:cxnSp>
      <p:sp>
        <p:nvSpPr>
          <p:cNvPr id="3" name="Rectangle 2">
            <a:extLst>
              <a:ext uri="{FF2B5EF4-FFF2-40B4-BE49-F238E27FC236}">
                <a16:creationId xmlns:a16="http://schemas.microsoft.com/office/drawing/2014/main" id="{8FCE91BC-FD41-4828-2688-C51D41872295}"/>
              </a:ext>
            </a:extLst>
          </p:cNvPr>
          <p:cNvSpPr/>
          <p:nvPr/>
        </p:nvSpPr>
        <p:spPr>
          <a:xfrm>
            <a:off x="1773935" y="2009249"/>
            <a:ext cx="6860779" cy="2157636"/>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Service delivery numbers</a:t>
            </a:r>
          </a:p>
          <a:p>
            <a:pPr marL="285750" indent="-285750">
              <a:buFont typeface="Arial" panose="020B0604020202020204" pitchFamily="34" charset="0"/>
              <a:buChar char="•"/>
            </a:pPr>
            <a:r>
              <a:rPr lang="en-US" dirty="0">
                <a:solidFill>
                  <a:schemeClr val="tx1"/>
                </a:solidFill>
              </a:rPr>
              <a:t># of places visited (primary, sec, </a:t>
            </a:r>
            <a:r>
              <a:rPr lang="en-US" dirty="0" err="1">
                <a:solidFill>
                  <a:schemeClr val="tx1"/>
                </a:solidFill>
              </a:rPr>
              <a:t>ter</a:t>
            </a:r>
            <a:r>
              <a:rPr lang="en-US" dirty="0">
                <a:solidFill>
                  <a:schemeClr val="tx1"/>
                </a:solidFill>
              </a:rPr>
              <a:t>) &amp; urban </a:t>
            </a:r>
            <a:r>
              <a:rPr lang="en-US" dirty="0" err="1">
                <a:solidFill>
                  <a:schemeClr val="tx1"/>
                </a:solidFill>
              </a:rPr>
              <a:t>rual</a:t>
            </a:r>
            <a:r>
              <a:rPr lang="en-US" dirty="0">
                <a:solidFill>
                  <a:schemeClr val="tx1"/>
                </a:solidFill>
              </a:rPr>
              <a:t> </a:t>
            </a:r>
            <a:r>
              <a:rPr lang="en-US" dirty="0" err="1">
                <a:solidFill>
                  <a:schemeClr val="tx1"/>
                </a:solidFill>
              </a:rPr>
              <a:t>etc</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Areas avoided because of insecurity in any</a:t>
            </a:r>
          </a:p>
          <a:p>
            <a:pPr marL="285750" indent="-285750">
              <a:buFont typeface="Arial" panose="020B0604020202020204" pitchFamily="34" charset="0"/>
              <a:buChar char="•"/>
            </a:pPr>
            <a:r>
              <a:rPr lang="en-US" dirty="0">
                <a:solidFill>
                  <a:schemeClr val="tx1"/>
                </a:solidFill>
              </a:rPr>
              <a:t>Indicators at country level</a:t>
            </a:r>
          </a:p>
        </p:txBody>
      </p:sp>
    </p:spTree>
    <p:extLst>
      <p:ext uri="{BB962C8B-B14F-4D97-AF65-F5344CB8AC3E}">
        <p14:creationId xmlns:p14="http://schemas.microsoft.com/office/powerpoint/2010/main" val="508009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A2EEB32-D28D-4D29-B33C-4EB88C2650C1}"/>
              </a:ext>
            </a:extLst>
          </p:cNvPr>
          <p:cNvSpPr/>
          <p:nvPr/>
        </p:nvSpPr>
        <p:spPr>
          <a:xfrm>
            <a:off x="8303124" y="1311074"/>
            <a:ext cx="3049234" cy="3739220"/>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2" name="TextBox 31">
            <a:extLst>
              <a:ext uri="{FF2B5EF4-FFF2-40B4-BE49-F238E27FC236}">
                <a16:creationId xmlns:a16="http://schemas.microsoft.com/office/drawing/2014/main" id="{17901FD8-55F9-431E-BDD3-D4CE09E5968E}"/>
              </a:ext>
            </a:extLst>
          </p:cNvPr>
          <p:cNvSpPr txBox="1"/>
          <p:nvPr/>
        </p:nvSpPr>
        <p:spPr>
          <a:xfrm>
            <a:off x="8589892" y="1730163"/>
            <a:ext cx="2628224" cy="733735"/>
          </a:xfrm>
          <a:prstGeom prst="rect">
            <a:avLst/>
          </a:prstGeom>
          <a:noFill/>
        </p:spPr>
        <p:txBody>
          <a:bodyPr wrap="square" lIns="0" tIns="0" rIns="0" bIns="0" rtlCol="0" anchor="t">
            <a:noAutofit/>
          </a:bodyPr>
          <a:lstStyle/>
          <a:p>
            <a:pPr algn="ctr">
              <a:lnSpc>
                <a:spcPct val="110000"/>
              </a:lnSpc>
              <a:defRPr/>
            </a:pPr>
            <a:r>
              <a:rPr lang="en-US" b="1">
                <a:solidFill>
                  <a:srgbClr val="D1D3D4"/>
                </a:solidFill>
                <a:latin typeface="+mj-lt"/>
              </a:rPr>
              <a:t>3. Key Findings </a:t>
            </a:r>
          </a:p>
          <a:p>
            <a:pPr algn="ctr">
              <a:lnSpc>
                <a:spcPct val="110000"/>
              </a:lnSpc>
              <a:defRPr/>
            </a:pPr>
            <a:r>
              <a:rPr lang="en-US" b="1">
                <a:solidFill>
                  <a:srgbClr val="D1D3D4"/>
                </a:solidFill>
                <a:latin typeface="+mj-lt"/>
              </a:rPr>
              <a:t>and Insights</a:t>
            </a:r>
            <a:endParaRPr lang="en-US">
              <a:solidFill>
                <a:srgbClr val="D1D3D4"/>
              </a:solidFill>
              <a:latin typeface="+mj-lt"/>
              <a:ea typeface="+mn-lt"/>
              <a:cs typeface="+mn-lt"/>
            </a:endParaRPr>
          </a:p>
          <a:p>
            <a:pPr>
              <a:lnSpc>
                <a:spcPct val="110000"/>
              </a:lnSpc>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26" name="Oval 25">
            <a:extLst>
              <a:ext uri="{FF2B5EF4-FFF2-40B4-BE49-F238E27FC236}">
                <a16:creationId xmlns:a16="http://schemas.microsoft.com/office/drawing/2014/main" id="{F1A76B19-A03F-486F-AD58-3ADF918915DD}"/>
              </a:ext>
            </a:extLst>
          </p:cNvPr>
          <p:cNvSpPr/>
          <p:nvPr/>
        </p:nvSpPr>
        <p:spPr>
          <a:xfrm>
            <a:off x="9447956" y="68724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BF6BC2F-5E49-43B0-A7F5-F3C6DE4F1598}"/>
              </a:ext>
            </a:extLst>
          </p:cNvPr>
          <p:cNvSpPr/>
          <p:nvPr/>
        </p:nvSpPr>
        <p:spPr>
          <a:xfrm>
            <a:off x="4517647" y="1310542"/>
            <a:ext cx="3049234" cy="3739751"/>
          </a:xfrm>
          <a:prstGeom prst="rect">
            <a:avLst/>
          </a:prstGeom>
          <a:noFill/>
          <a:ln w="571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31" name="TextBox 30">
            <a:extLst>
              <a:ext uri="{FF2B5EF4-FFF2-40B4-BE49-F238E27FC236}">
                <a16:creationId xmlns:a16="http://schemas.microsoft.com/office/drawing/2014/main" id="{34405F1C-50F8-44EB-9111-6B9A8A617ABC}"/>
              </a:ext>
            </a:extLst>
          </p:cNvPr>
          <p:cNvSpPr txBox="1"/>
          <p:nvPr/>
        </p:nvSpPr>
        <p:spPr>
          <a:xfrm>
            <a:off x="5091261" y="1898306"/>
            <a:ext cx="2078982" cy="326636"/>
          </a:xfrm>
          <a:prstGeom prst="rect">
            <a:avLst/>
          </a:prstGeom>
          <a:noFill/>
        </p:spPr>
        <p:txBody>
          <a:bodyPr wrap="square" lIns="0" tIns="0" rIns="0" bIns="0" rtlCol="0" anchor="t">
            <a:noAutofit/>
          </a:bodyPr>
          <a:lstStyle/>
          <a:p>
            <a:pPr algn="ctr">
              <a:lnSpc>
                <a:spcPct val="110000"/>
              </a:lnSpc>
              <a:defRPr/>
            </a:pPr>
            <a:r>
              <a:rPr lang="en-US" b="1">
                <a:solidFill>
                  <a:schemeClr val="accent3"/>
                </a:solidFill>
                <a:latin typeface="+mj-lt"/>
              </a:rPr>
              <a:t>2. Methodology</a:t>
            </a:r>
            <a:endParaRPr lang="en-US" sz="1800" b="1" i="0" u="none" strike="noStrike" kern="1200" cap="none" spc="0" normalizeH="0" baseline="0" noProof="0">
              <a:ln>
                <a:noFill/>
              </a:ln>
              <a:solidFill>
                <a:schemeClr val="accent3"/>
              </a:solidFill>
              <a:effectLst/>
              <a:uLnTx/>
              <a:uFillTx/>
              <a:latin typeface="+mj-lt"/>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1D3D4"/>
              </a:solidFill>
              <a:effectLst/>
              <a:uLnTx/>
              <a:uFillTx/>
              <a:latin typeface="+mj-lt"/>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1800" b="0" i="0" u="none" strike="noStrike" kern="1200" cap="none" spc="0" normalizeH="0" baseline="0" noProof="0">
              <a:ln>
                <a:noFill/>
              </a:ln>
              <a:solidFill>
                <a:srgbClr val="D1D3D4"/>
              </a:solidFill>
              <a:effectLst/>
              <a:uLnTx/>
              <a:uFillTx/>
              <a:latin typeface="+mj-lt"/>
              <a:cs typeface="Arial"/>
            </a:endParaRPr>
          </a:p>
        </p:txBody>
      </p:sp>
      <p:sp>
        <p:nvSpPr>
          <p:cNvPr id="41" name="Rectangle 40">
            <a:extLst>
              <a:ext uri="{FF2B5EF4-FFF2-40B4-BE49-F238E27FC236}">
                <a16:creationId xmlns:a16="http://schemas.microsoft.com/office/drawing/2014/main" id="{71D058DD-B549-46CE-9852-7F37C6428A9E}"/>
              </a:ext>
            </a:extLst>
          </p:cNvPr>
          <p:cNvSpPr/>
          <p:nvPr/>
        </p:nvSpPr>
        <p:spPr>
          <a:xfrm>
            <a:off x="713185" y="1306822"/>
            <a:ext cx="3068685" cy="3743474"/>
          </a:xfrm>
          <a:prstGeom prst="rect">
            <a:avLst/>
          </a:prstGeom>
          <a:noFill/>
          <a:ln w="571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4" name="TextBox 43">
            <a:extLst>
              <a:ext uri="{FF2B5EF4-FFF2-40B4-BE49-F238E27FC236}">
                <a16:creationId xmlns:a16="http://schemas.microsoft.com/office/drawing/2014/main" id="{41B82164-4F66-41B5-B419-E82B8D4D54BB}"/>
              </a:ext>
            </a:extLst>
          </p:cNvPr>
          <p:cNvSpPr txBox="1"/>
          <p:nvPr/>
        </p:nvSpPr>
        <p:spPr>
          <a:xfrm>
            <a:off x="1033996" y="1756793"/>
            <a:ext cx="2377440" cy="325032"/>
          </a:xfrm>
          <a:prstGeom prst="rect">
            <a:avLst/>
          </a:prstGeom>
          <a:noFill/>
        </p:spPr>
        <p:txBody>
          <a:bodyPr wrap="square" lIns="0" tIns="0" rIns="0" bIns="0" rtlCol="0" anchor="t">
            <a:noAutofit/>
          </a:bodyPr>
          <a:lstStyle/>
          <a:p>
            <a:pPr algn="ctr">
              <a:lnSpc>
                <a:spcPct val="110000"/>
              </a:lnSpc>
              <a:defRPr/>
            </a:pPr>
            <a:r>
              <a:rPr lang="en-US" b="1">
                <a:solidFill>
                  <a:schemeClr val="bg2"/>
                </a:solidFill>
                <a:latin typeface="+mj-lt"/>
              </a:rPr>
              <a:t>1. Executive Summary</a:t>
            </a:r>
            <a:endParaRPr lang="en-US">
              <a:solidFill>
                <a:schemeClr val="bg2"/>
              </a:solidFill>
              <a:latin typeface="+mj-lt"/>
              <a:cs typeface="Arial"/>
            </a:endParaRPr>
          </a:p>
        </p:txBody>
      </p:sp>
      <p:sp>
        <p:nvSpPr>
          <p:cNvPr id="42" name="Oval 41">
            <a:extLst>
              <a:ext uri="{FF2B5EF4-FFF2-40B4-BE49-F238E27FC236}">
                <a16:creationId xmlns:a16="http://schemas.microsoft.com/office/drawing/2014/main" id="{D752D393-E019-4B63-B672-BA73C4B9C2D8}"/>
              </a:ext>
            </a:extLst>
          </p:cNvPr>
          <p:cNvSpPr/>
          <p:nvPr/>
        </p:nvSpPr>
        <p:spPr>
          <a:xfrm>
            <a:off x="1765516" y="748320"/>
            <a:ext cx="972000" cy="972000"/>
          </a:xfrm>
          <a:prstGeom prst="ellipse">
            <a:avLst/>
          </a:prstGeom>
          <a:solidFill>
            <a:schemeClr val="bg2"/>
          </a:solidFill>
          <a:ln w="381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sp>
        <p:nvSpPr>
          <p:cNvPr id="4" name="Oval 3">
            <a:extLst>
              <a:ext uri="{FF2B5EF4-FFF2-40B4-BE49-F238E27FC236}">
                <a16:creationId xmlns:a16="http://schemas.microsoft.com/office/drawing/2014/main" id="{0DD905CA-D759-2048-DC79-77BE6306D40D}"/>
              </a:ext>
            </a:extLst>
          </p:cNvPr>
          <p:cNvSpPr/>
          <p:nvPr/>
        </p:nvSpPr>
        <p:spPr>
          <a:xfrm>
            <a:off x="5637956" y="812632"/>
            <a:ext cx="914400" cy="914400"/>
          </a:xfrm>
          <a:prstGeom prst="ellipse">
            <a:avLst/>
          </a:prstGeom>
          <a:solidFill>
            <a:schemeClr val="accent3"/>
          </a:solidFill>
          <a:ln w="381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1D3D4"/>
              </a:solidFill>
              <a:effectLst/>
              <a:uLnTx/>
              <a:uFillTx/>
              <a:latin typeface="Arial"/>
              <a:ea typeface="+mn-ea"/>
              <a:cs typeface="+mn-cs"/>
            </a:endParaRPr>
          </a:p>
        </p:txBody>
      </p:sp>
      <p:pic>
        <p:nvPicPr>
          <p:cNvPr id="14" name="Graphic 14" descr="Clipboard outline">
            <a:extLst>
              <a:ext uri="{FF2B5EF4-FFF2-40B4-BE49-F238E27FC236}">
                <a16:creationId xmlns:a16="http://schemas.microsoft.com/office/drawing/2014/main" id="{E57BD890-5D56-E121-A584-A5E7FFCF91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63063" y="828690"/>
            <a:ext cx="817944" cy="798654"/>
          </a:xfrm>
          <a:prstGeom prst="rect">
            <a:avLst/>
          </a:prstGeom>
        </p:spPr>
      </p:pic>
      <p:sp>
        <p:nvSpPr>
          <p:cNvPr id="20" name="Rectangle 19">
            <a:extLst>
              <a:ext uri="{FF2B5EF4-FFF2-40B4-BE49-F238E27FC236}">
                <a16:creationId xmlns:a16="http://schemas.microsoft.com/office/drawing/2014/main" id="{F26CBB72-2A1D-C527-BE5D-1519FEEEECA6}"/>
              </a:ext>
            </a:extLst>
          </p:cNvPr>
          <p:cNvSpPr/>
          <p:nvPr/>
        </p:nvSpPr>
        <p:spPr>
          <a:xfrm>
            <a:off x="926567" y="2882405"/>
            <a:ext cx="2683653" cy="1267612"/>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Bef>
                <a:spcPts val="300"/>
              </a:spcBef>
              <a:spcAft>
                <a:spcPts val="300"/>
              </a:spcAft>
              <a:buClr>
                <a:srgbClr val="00B050"/>
              </a:buClr>
              <a:defRPr/>
            </a:pPr>
            <a:r>
              <a:rPr kumimoji="0" lang="en-US" b="0" i="0" u="none" strike="noStrike" kern="0" cap="none" spc="0" normalizeH="0" baseline="0" noProof="0">
                <a:ln>
                  <a:noFill/>
                </a:ln>
                <a:solidFill>
                  <a:schemeClr val="bg2"/>
                </a:solidFill>
                <a:effectLst/>
                <a:uLnTx/>
                <a:uFillTx/>
                <a:latin typeface="Arial" panose="020B0604020202020204"/>
                <a:ea typeface="+mn-ea"/>
                <a:cs typeface="+mn-cs"/>
              </a:rPr>
              <a:t>Summarizes the </a:t>
            </a:r>
            <a:r>
              <a:rPr kumimoji="0" lang="en-US" b="1" i="0" u="none" strike="noStrike" kern="0" cap="none" spc="0" normalizeH="0" baseline="0" noProof="0">
                <a:ln>
                  <a:noFill/>
                </a:ln>
                <a:solidFill>
                  <a:schemeClr val="bg2"/>
                </a:solidFill>
                <a:effectLst/>
                <a:uLnTx/>
                <a:uFillTx/>
                <a:latin typeface="Arial" panose="020B0604020202020204"/>
                <a:ea typeface="+mn-ea"/>
                <a:cs typeface="+mn-cs"/>
              </a:rPr>
              <a:t>scope, </a:t>
            </a:r>
            <a:r>
              <a:rPr lang="en-US" b="1" kern="0">
                <a:solidFill>
                  <a:schemeClr val="bg2"/>
                </a:solidFill>
                <a:latin typeface="Arial" panose="020B0604020202020204"/>
              </a:rPr>
              <a:t>key findings and highlights </a:t>
            </a:r>
            <a:r>
              <a:rPr lang="en-US" kern="0">
                <a:solidFill>
                  <a:schemeClr val="bg2"/>
                </a:solidFill>
                <a:latin typeface="Arial" panose="020B0604020202020204"/>
              </a:rPr>
              <a:t>for the quarter.</a:t>
            </a:r>
            <a:endParaRPr lang="en-US">
              <a:solidFill>
                <a:schemeClr val="bg2"/>
              </a:solidFill>
              <a:cs typeface="Arial"/>
            </a:endParaRPr>
          </a:p>
        </p:txBody>
      </p:sp>
      <p:sp>
        <p:nvSpPr>
          <p:cNvPr id="21" name="Rectangle 20">
            <a:extLst>
              <a:ext uri="{FF2B5EF4-FFF2-40B4-BE49-F238E27FC236}">
                <a16:creationId xmlns:a16="http://schemas.microsoft.com/office/drawing/2014/main" id="{C03D0C2D-FF4A-6279-CC76-86A0021738BE}"/>
              </a:ext>
            </a:extLst>
          </p:cNvPr>
          <p:cNvSpPr/>
          <p:nvPr/>
        </p:nvSpPr>
        <p:spPr>
          <a:xfrm>
            <a:off x="4678915" y="2643905"/>
            <a:ext cx="2741083" cy="1757196"/>
          </a:xfrm>
          <a:prstGeom prst="rect">
            <a:avLst/>
          </a:prstGeom>
          <a:noFill/>
        </p:spPr>
        <p:txBody>
          <a:bodyPr wrap="square"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457200">
              <a:spcBef>
                <a:spcPts val="600"/>
              </a:spcBef>
              <a:spcAft>
                <a:spcPts val="600"/>
              </a:spcAft>
              <a:buClr>
                <a:srgbClr val="E0EDFD">
                  <a:lumMod val="25000"/>
                </a:srgbClr>
              </a:buClr>
              <a:defRPr/>
            </a:pPr>
            <a:r>
              <a:rPr kumimoji="0" lang="en-US" b="0" i="0" u="none" strike="noStrike" kern="0" cap="none" spc="0" normalizeH="0" baseline="0" noProof="0">
                <a:ln>
                  <a:noFill/>
                </a:ln>
                <a:effectLst/>
                <a:uLnTx/>
                <a:uFillTx/>
                <a:latin typeface="Arial" panose="020B0604020202020204"/>
                <a:ea typeface="+mn-ea"/>
                <a:cs typeface="+mn-cs"/>
              </a:rPr>
              <a:t>Provides a description of </a:t>
            </a:r>
            <a:r>
              <a:rPr lang="en-US" kern="0">
                <a:latin typeface="Arial" panose="020B0604020202020204"/>
              </a:rPr>
              <a:t>the</a:t>
            </a:r>
            <a:r>
              <a:rPr lang="en-US" kern="0">
                <a:solidFill>
                  <a:srgbClr val="D1D3D4"/>
                </a:solidFill>
                <a:latin typeface="Arial" panose="020B0604020202020204"/>
              </a:rPr>
              <a:t> </a:t>
            </a:r>
            <a:r>
              <a:rPr lang="en-US" b="1" kern="0">
                <a:solidFill>
                  <a:schemeClr val="accent3"/>
                </a:solidFill>
                <a:latin typeface="Arial" panose="020B0604020202020204"/>
              </a:rPr>
              <a:t>sampling</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data quality assurance</a:t>
            </a:r>
            <a:r>
              <a:rPr kumimoji="0" lang="en-US" b="0" i="0" u="none" strike="noStrike" kern="0" cap="none" spc="0" normalizeH="0" baseline="0" noProof="0">
                <a:ln>
                  <a:noFill/>
                </a:ln>
                <a:solidFill>
                  <a:schemeClr val="accent3"/>
                </a:solidFill>
                <a:effectLst/>
                <a:uLnTx/>
                <a:uFillTx/>
                <a:latin typeface="Arial" panose="020B0604020202020204"/>
                <a:ea typeface="+mn-ea"/>
                <a:cs typeface="+mn-cs"/>
              </a:rPr>
              <a:t> and the </a:t>
            </a:r>
            <a:r>
              <a:rPr kumimoji="0" lang="en-US" b="1" i="0" u="none" strike="noStrike" kern="0" cap="none" spc="0" normalizeH="0" baseline="0" noProof="0">
                <a:ln>
                  <a:noFill/>
                </a:ln>
                <a:solidFill>
                  <a:schemeClr val="accent3"/>
                </a:solidFill>
                <a:effectLst/>
                <a:uLnTx/>
                <a:uFillTx/>
                <a:latin typeface="Arial" panose="020B0604020202020204"/>
                <a:ea typeface="+mn-ea"/>
                <a:cs typeface="+mn-cs"/>
              </a:rPr>
              <a:t>analysis</a:t>
            </a:r>
            <a:r>
              <a:rPr kumimoji="0" lang="en-US" b="0" i="0" u="none" strike="noStrike" kern="0" cap="none" spc="0" normalizeH="0" baseline="0" noProof="0">
                <a:ln>
                  <a:noFill/>
                </a:ln>
                <a:solidFill>
                  <a:srgbClr val="D1D3D4"/>
                </a:solidFill>
                <a:effectLst/>
                <a:uLnTx/>
                <a:uFillTx/>
                <a:latin typeface="Arial" panose="020B0604020202020204"/>
                <a:ea typeface="+mn-ea"/>
                <a:cs typeface="+mn-cs"/>
              </a:rPr>
              <a:t> </a:t>
            </a:r>
            <a:r>
              <a:rPr kumimoji="0" lang="en-US" b="0" i="0" u="none" strike="noStrike" kern="0" cap="none" spc="0" normalizeH="0" baseline="0" noProof="0">
                <a:ln>
                  <a:noFill/>
                </a:ln>
                <a:effectLst/>
                <a:uLnTx/>
                <a:uFillTx/>
                <a:latin typeface="Arial" panose="020B0604020202020204"/>
                <a:ea typeface="+mn-ea"/>
                <a:cs typeface="+mn-cs"/>
              </a:rPr>
              <a:t>approach, as well as challenges encountered in methodology, if any</a:t>
            </a:r>
            <a:r>
              <a:rPr lang="en-US" kern="0">
                <a:latin typeface="Arial" panose="020B0604020202020204"/>
              </a:rPr>
              <a:t>.</a:t>
            </a:r>
            <a:endParaRPr lang="en-US">
              <a:cs typeface="Arial"/>
            </a:endParaRPr>
          </a:p>
        </p:txBody>
      </p:sp>
      <p:sp>
        <p:nvSpPr>
          <p:cNvPr id="24" name="TextBox 23">
            <a:extLst>
              <a:ext uri="{FF2B5EF4-FFF2-40B4-BE49-F238E27FC236}">
                <a16:creationId xmlns:a16="http://schemas.microsoft.com/office/drawing/2014/main" id="{9575ACB4-DDD0-3026-D72B-C03664AAC6F6}"/>
              </a:ext>
            </a:extLst>
          </p:cNvPr>
          <p:cNvSpPr txBox="1"/>
          <p:nvPr/>
        </p:nvSpPr>
        <p:spPr>
          <a:xfrm>
            <a:off x="8453712" y="3173002"/>
            <a:ext cx="2734325" cy="733735"/>
          </a:xfrm>
          <a:prstGeom prst="rect">
            <a:avLst/>
          </a:prstGeom>
          <a:noFill/>
        </p:spPr>
        <p:txBody>
          <a:bodyPr wrap="square" lIns="0" tIns="0" rIns="0" bIns="0" rtlCol="0" anchor="t">
            <a:noAutofit/>
          </a:bodyPr>
          <a:lstStyle/>
          <a:p>
            <a:pPr algn="ctr">
              <a:lnSpc>
                <a:spcPct val="110000"/>
              </a:lnSpc>
              <a:defRPr/>
            </a:pPr>
            <a:r>
              <a:rPr lang="en-US">
                <a:solidFill>
                  <a:srgbClr val="D1D3D4"/>
                </a:solidFill>
                <a:latin typeface="Arial"/>
              </a:rPr>
              <a:t>Reflects the </a:t>
            </a:r>
            <a:r>
              <a:rPr lang="en-US" b="1">
                <a:solidFill>
                  <a:srgbClr val="D1D3D4"/>
                </a:solidFill>
                <a:latin typeface="Arial"/>
              </a:rPr>
              <a:t>key findings and highlights</a:t>
            </a:r>
            <a:r>
              <a:rPr lang="en-US">
                <a:solidFill>
                  <a:srgbClr val="D1D3D4"/>
                </a:solidFill>
                <a:latin typeface="Arial"/>
              </a:rPr>
              <a:t>.</a:t>
            </a:r>
            <a:endParaRPr lang="en-US">
              <a:solidFill>
                <a:srgbClr val="D1D3D4"/>
              </a:solidFill>
              <a:cs typeface="Arial"/>
            </a:endParaRPr>
          </a:p>
        </p:txBody>
      </p:sp>
      <p:cxnSp>
        <p:nvCxnSpPr>
          <p:cNvPr id="6" name="Straight Arrow Connector 5">
            <a:extLst>
              <a:ext uri="{FF2B5EF4-FFF2-40B4-BE49-F238E27FC236}">
                <a16:creationId xmlns:a16="http://schemas.microsoft.com/office/drawing/2014/main" id="{8E7FE532-2652-1B26-60CA-AD5D5BB9ED47}"/>
              </a:ext>
            </a:extLst>
          </p:cNvPr>
          <p:cNvCxnSpPr/>
          <p:nvPr/>
        </p:nvCxnSpPr>
        <p:spPr>
          <a:xfrm>
            <a:off x="754041"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cxnSp>
        <p:nvCxnSpPr>
          <p:cNvPr id="7" name="Straight Arrow Connector 6">
            <a:extLst>
              <a:ext uri="{FF2B5EF4-FFF2-40B4-BE49-F238E27FC236}">
                <a16:creationId xmlns:a16="http://schemas.microsoft.com/office/drawing/2014/main" id="{46550A51-D3D1-DDBB-DF93-ED863BD3CB64}"/>
              </a:ext>
            </a:extLst>
          </p:cNvPr>
          <p:cNvCxnSpPr>
            <a:cxnSpLocks/>
          </p:cNvCxnSpPr>
          <p:nvPr/>
        </p:nvCxnSpPr>
        <p:spPr>
          <a:xfrm>
            <a:off x="4535104" y="2493755"/>
            <a:ext cx="3028707" cy="0"/>
          </a:xfrm>
          <a:prstGeom prst="straightConnector1">
            <a:avLst/>
          </a:prstGeom>
          <a:ln w="28575">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E8BFA838-2FE8-F3E0-4430-A2176489DF78}"/>
              </a:ext>
            </a:extLst>
          </p:cNvPr>
          <p:cNvCxnSpPr>
            <a:cxnSpLocks/>
          </p:cNvCxnSpPr>
          <p:nvPr/>
        </p:nvCxnSpPr>
        <p:spPr>
          <a:xfrm>
            <a:off x="8306522" y="2493756"/>
            <a:ext cx="3028707" cy="0"/>
          </a:xfrm>
          <a:prstGeom prst="straightConnector1">
            <a:avLst/>
          </a:prstGeom>
          <a:ln w="28575">
            <a:solidFill>
              <a:schemeClr val="bg2"/>
            </a:solidFill>
          </a:ln>
        </p:spPr>
        <p:style>
          <a:lnRef idx="1">
            <a:schemeClr val="accent2"/>
          </a:lnRef>
          <a:fillRef idx="0">
            <a:schemeClr val="accent2"/>
          </a:fillRef>
          <a:effectRef idx="0">
            <a:schemeClr val="accent2"/>
          </a:effectRef>
          <a:fontRef idx="minor">
            <a:schemeClr val="tx1"/>
          </a:fontRef>
        </p:style>
      </p:cxnSp>
      <p:pic>
        <p:nvPicPr>
          <p:cNvPr id="5" name="Graphic 15" descr="Gears outline">
            <a:extLst>
              <a:ext uri="{FF2B5EF4-FFF2-40B4-BE49-F238E27FC236}">
                <a16:creationId xmlns:a16="http://schemas.microsoft.com/office/drawing/2014/main" id="{DFEC2EEA-F622-AAF3-B48B-83D6743C51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8118" y="794876"/>
            <a:ext cx="972000" cy="972000"/>
          </a:xfrm>
          <a:prstGeom prst="rect">
            <a:avLst/>
          </a:prstGeom>
        </p:spPr>
      </p:pic>
      <p:pic>
        <p:nvPicPr>
          <p:cNvPr id="10" name="Graphic 16" descr="Bar graph with upward trend outline">
            <a:extLst>
              <a:ext uri="{FF2B5EF4-FFF2-40B4-BE49-F238E27FC236}">
                <a16:creationId xmlns:a16="http://schemas.microsoft.com/office/drawing/2014/main" id="{B99696A4-A3A8-5A96-96CE-2C658EAFF6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06191" y="770815"/>
            <a:ext cx="798654" cy="789010"/>
          </a:xfrm>
          <a:prstGeom prst="rect">
            <a:avLst/>
          </a:prstGeom>
        </p:spPr>
      </p:pic>
      <p:sp>
        <p:nvSpPr>
          <p:cNvPr id="2" name="Slide Number Placeholder 1">
            <a:extLst>
              <a:ext uri="{FF2B5EF4-FFF2-40B4-BE49-F238E27FC236}">
                <a16:creationId xmlns:a16="http://schemas.microsoft.com/office/drawing/2014/main" id="{ACCAB59A-0482-882D-2513-A071BC90E77C}"/>
              </a:ext>
            </a:extLst>
          </p:cNvPr>
          <p:cNvSpPr>
            <a:spLocks noGrp="1"/>
          </p:cNvSpPr>
          <p:nvPr>
            <p:ph type="sldNum" sz="quarter" idx="23"/>
          </p:nvPr>
        </p:nvSpPr>
        <p:spPr/>
        <p:txBody>
          <a:bodyPr/>
          <a:lstStyle/>
          <a:p>
            <a:fld id="{1B2D2347-4BA4-BC41-B48C-85D3549E683F}" type="slidenum">
              <a:rPr lang="en-US" smtClean="0"/>
              <a:pPr/>
              <a:t>7</a:t>
            </a:fld>
            <a:endParaRPr lang="en-US"/>
          </a:p>
        </p:txBody>
      </p:sp>
      <p:sp>
        <p:nvSpPr>
          <p:cNvPr id="11" name="Right Arrow 15">
            <a:extLst>
              <a:ext uri="{FF2B5EF4-FFF2-40B4-BE49-F238E27FC236}">
                <a16:creationId xmlns:a16="http://schemas.microsoft.com/office/drawing/2014/main" id="{3D327D2A-62BF-B3C8-439B-245D281E8D13}"/>
              </a:ext>
            </a:extLst>
          </p:cNvPr>
          <p:cNvSpPr/>
          <p:nvPr/>
        </p:nvSpPr>
        <p:spPr bwMode="auto">
          <a:xfrm>
            <a:off x="360000" y="5438944"/>
            <a:ext cx="11472000" cy="540000"/>
          </a:xfrm>
          <a:prstGeom prst="rightArrow">
            <a:avLst/>
          </a:prstGeom>
          <a:solidFill>
            <a:schemeClr val="bg2"/>
          </a:solidFill>
          <a:ln w="2857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18586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448F4B-A988-1D69-1DFA-1262E08EC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47448F4B-A988-1D69-1DFA-1262E08EC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CCB64AE-201D-8DFB-D180-076BF9575F4C}"/>
              </a:ext>
            </a:extLst>
          </p:cNvPr>
          <p:cNvSpPr>
            <a:spLocks noGrp="1"/>
          </p:cNvSpPr>
          <p:nvPr>
            <p:ph type="sldNum" sz="quarter" idx="12"/>
          </p:nvPr>
        </p:nvSpPr>
        <p:spPr/>
        <p:txBody>
          <a:bodyPr/>
          <a:lstStyle/>
          <a:p>
            <a:endParaRPr lang="en-US"/>
          </a:p>
        </p:txBody>
      </p:sp>
      <p:sp>
        <p:nvSpPr>
          <p:cNvPr id="2" name="Title 1">
            <a:extLst>
              <a:ext uri="{FF2B5EF4-FFF2-40B4-BE49-F238E27FC236}">
                <a16:creationId xmlns:a16="http://schemas.microsoft.com/office/drawing/2014/main" id="{88B42371-8F1B-0C4E-94E5-3C5AE05B2216}"/>
              </a:ext>
            </a:extLst>
          </p:cNvPr>
          <p:cNvSpPr>
            <a:spLocks noGrp="1"/>
          </p:cNvSpPr>
          <p:nvPr>
            <p:ph type="title"/>
          </p:nvPr>
        </p:nvSpPr>
        <p:spPr>
          <a:xfrm>
            <a:off x="360000" y="270001"/>
            <a:ext cx="11471638" cy="630310"/>
          </a:xfrm>
        </p:spPr>
        <p:txBody>
          <a:bodyPr vert="horz"/>
          <a:lstStyle/>
          <a:p>
            <a:r>
              <a:rPr lang="en-US" sz="2800" err="1"/>
              <a:t>tHFA</a:t>
            </a:r>
            <a:r>
              <a:rPr lang="en-US" sz="2800"/>
              <a:t> Sampling: 120 health facilities in each country</a:t>
            </a:r>
          </a:p>
        </p:txBody>
      </p:sp>
      <p:sp>
        <p:nvSpPr>
          <p:cNvPr id="6" name="Text Placeholder 5">
            <a:extLst>
              <a:ext uri="{FF2B5EF4-FFF2-40B4-BE49-F238E27FC236}">
                <a16:creationId xmlns:a16="http://schemas.microsoft.com/office/drawing/2014/main" id="{F64B5472-B5F3-51BD-006A-42F355B7DC3B}"/>
              </a:ext>
            </a:extLst>
          </p:cNvPr>
          <p:cNvSpPr>
            <a:spLocks noGrp="1"/>
          </p:cNvSpPr>
          <p:nvPr>
            <p:ph type="body" sz="quarter" idx="13"/>
          </p:nvPr>
        </p:nvSpPr>
        <p:spPr/>
        <p:txBody>
          <a:bodyPr vert="horz" lIns="0" tIns="0" rIns="0" bIns="0" rtlCol="0" anchor="t">
            <a:noAutofit/>
          </a:bodyPr>
          <a:lstStyle/>
          <a:p>
            <a:r>
              <a:rPr lang="en-US" sz="2400"/>
              <a:t>30% of facilities sampled purposively with focus on Global Fund-supported facilities. Remaining (70%) selected using stratified random sampling.</a:t>
            </a:r>
          </a:p>
        </p:txBody>
      </p:sp>
      <p:sp>
        <p:nvSpPr>
          <p:cNvPr id="8" name="TextBox 7">
            <a:extLst>
              <a:ext uri="{FF2B5EF4-FFF2-40B4-BE49-F238E27FC236}">
                <a16:creationId xmlns:a16="http://schemas.microsoft.com/office/drawing/2014/main" id="{733E2911-C7E0-F996-4D1E-C1ED0D889A17}"/>
              </a:ext>
            </a:extLst>
          </p:cNvPr>
          <p:cNvSpPr txBox="1"/>
          <p:nvPr/>
        </p:nvSpPr>
        <p:spPr>
          <a:xfrm>
            <a:off x="359639" y="4738711"/>
            <a:ext cx="5094863" cy="1323439"/>
          </a:xfrm>
          <a:prstGeom prst="rect">
            <a:avLst/>
          </a:prstGeom>
          <a:solidFill>
            <a:schemeClr val="accent3">
              <a:lumMod val="20000"/>
              <a:lumOff val="80000"/>
            </a:schemeClr>
          </a:solidFill>
        </p:spPr>
        <p:txBody>
          <a:bodyPr wrap="square" lIns="91440" tIns="45720" rIns="91440" bIns="45720" anchor="t">
            <a:spAutoFit/>
          </a:bodyPr>
          <a:lstStyle/>
          <a:p>
            <a:pPr marL="285750" indent="-285750">
              <a:buFont typeface="Arial" panose="020B0604020202020204" pitchFamily="34" charset="0"/>
              <a:buChar char="•"/>
            </a:pPr>
            <a:r>
              <a:rPr lang="en-US" sz="1600">
                <a:effectLst/>
                <a:ea typeface="Calibri" panose="020F0502020204030204" pitchFamily="34" charset="0"/>
              </a:rPr>
              <a:t>30% of the facilities will be purposively sampled (and revisited over subsequent surveys as a panel).</a:t>
            </a:r>
            <a:endParaRPr lang="en-US" sz="1600">
              <a:effectLst/>
              <a:ea typeface="Calibri" panose="020F0502020204030204" pitchFamily="34" charset="0"/>
              <a:cs typeface="Arial"/>
            </a:endParaRPr>
          </a:p>
          <a:p>
            <a:pPr marL="285750" indent="-285750">
              <a:buFont typeface="Arial" panose="020B0604020202020204" pitchFamily="34" charset="0"/>
              <a:buChar char="•"/>
            </a:pPr>
            <a:r>
              <a:rPr lang="en-US" sz="1600"/>
              <a:t>These will be primarily the tertiary and secondary facilities expected to receive Global Fund support.</a:t>
            </a:r>
            <a:endParaRPr lang="en-US" sz="1600">
              <a:cs typeface="Arial"/>
            </a:endParaRPr>
          </a:p>
        </p:txBody>
      </p:sp>
      <p:sp>
        <p:nvSpPr>
          <p:cNvPr id="10" name="TextBox 9">
            <a:extLst>
              <a:ext uri="{FF2B5EF4-FFF2-40B4-BE49-F238E27FC236}">
                <a16:creationId xmlns:a16="http://schemas.microsoft.com/office/drawing/2014/main" id="{A3EEC5F0-0AA1-51BE-280A-BA5D71B68E95}"/>
              </a:ext>
            </a:extLst>
          </p:cNvPr>
          <p:cNvSpPr txBox="1"/>
          <p:nvPr/>
        </p:nvSpPr>
        <p:spPr>
          <a:xfrm>
            <a:off x="5887779" y="4738711"/>
            <a:ext cx="6097772" cy="1815882"/>
          </a:xfrm>
          <a:prstGeom prst="rect">
            <a:avLst/>
          </a:prstGeom>
          <a:solidFill>
            <a:schemeClr val="accent3">
              <a:lumMod val="20000"/>
              <a:lumOff val="80000"/>
            </a:schemeClr>
          </a:solidFill>
        </p:spPr>
        <p:txBody>
          <a:bodyPr wrap="square" lIns="91440" tIns="45720" rIns="91440" bIns="45720" anchor="t">
            <a:spAutoFit/>
          </a:bodyPr>
          <a:lstStyle/>
          <a:p>
            <a:pPr marL="285750" indent="-285750">
              <a:buFont typeface="Arial" panose="020B0604020202020204" pitchFamily="34" charset="0"/>
              <a:buChar char="•"/>
            </a:pPr>
            <a:r>
              <a:rPr lang="en-US" sz="1600">
                <a:effectLst/>
                <a:ea typeface="Calibri" panose="020F0502020204030204" pitchFamily="34" charset="0"/>
              </a:rPr>
              <a:t>70% of the facilities will be selected using stratified random sampling.</a:t>
            </a:r>
            <a:endParaRPr lang="en-US" sz="1600">
              <a:effectLst/>
              <a:ea typeface="Calibri" panose="020F0502020204030204" pitchFamily="34" charset="0"/>
              <a:cs typeface="Arial"/>
            </a:endParaRPr>
          </a:p>
          <a:p>
            <a:pPr marL="285750" indent="-285750">
              <a:buFont typeface="Arial" panose="020B0604020202020204" pitchFamily="34" charset="0"/>
              <a:buChar char="•"/>
            </a:pPr>
            <a:r>
              <a:rPr lang="en-US" sz="1600">
                <a:effectLst/>
                <a:ea typeface="Calibri" panose="020F0502020204030204" pitchFamily="34" charset="0"/>
              </a:rPr>
              <a:t>All public facilities will be categorized as primary, secondary or tertiary.</a:t>
            </a:r>
            <a:r>
              <a:rPr lang="en-US" sz="1600">
                <a:ea typeface="Calibri" panose="020F0502020204030204" pitchFamily="34" charset="0"/>
              </a:rPr>
              <a:t>  </a:t>
            </a:r>
            <a:endParaRPr lang="en-US" sz="1600">
              <a:effectLst/>
              <a:ea typeface="Calibri" panose="020F0502020204030204" pitchFamily="34" charset="0"/>
              <a:cs typeface="Arial"/>
            </a:endParaRPr>
          </a:p>
          <a:p>
            <a:pPr marL="285750" indent="-285750">
              <a:buFont typeface="Arial" panose="020B0604020202020204" pitchFamily="34" charset="0"/>
              <a:buChar char="•"/>
            </a:pPr>
            <a:r>
              <a:rPr lang="en-US" sz="1600">
                <a:ea typeface="Calibri" panose="020F0502020204030204" pitchFamily="34" charset="0"/>
              </a:rPr>
              <a:t>Within each strata, we will select facilities based on the following proportion: 34% primary facilities, 43% secondary facilities and 23% tertiary facilities.</a:t>
            </a:r>
            <a:endParaRPr lang="en-US" sz="1600">
              <a:cs typeface="Arial"/>
            </a:endParaRPr>
          </a:p>
        </p:txBody>
      </p:sp>
      <p:sp>
        <p:nvSpPr>
          <p:cNvPr id="19" name="Rounded Rectangle 18">
            <a:extLst>
              <a:ext uri="{FF2B5EF4-FFF2-40B4-BE49-F238E27FC236}">
                <a16:creationId xmlns:a16="http://schemas.microsoft.com/office/drawing/2014/main" id="{BD0D72BA-9874-99E4-EEDA-5805E010B09B}"/>
              </a:ext>
            </a:extLst>
          </p:cNvPr>
          <p:cNvSpPr/>
          <p:nvPr/>
        </p:nvSpPr>
        <p:spPr>
          <a:xfrm>
            <a:off x="1850065" y="3583944"/>
            <a:ext cx="2232837" cy="531628"/>
          </a:xfrm>
          <a:prstGeom prst="round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36 facilities</a:t>
            </a:r>
          </a:p>
          <a:p>
            <a:pPr algn="ctr"/>
            <a:r>
              <a:rPr lang="en-US" sz="1600"/>
              <a:t>(12 per domain)</a:t>
            </a:r>
          </a:p>
        </p:txBody>
      </p:sp>
      <p:sp>
        <p:nvSpPr>
          <p:cNvPr id="20" name="Rounded Rectangle 19">
            <a:extLst>
              <a:ext uri="{FF2B5EF4-FFF2-40B4-BE49-F238E27FC236}">
                <a16:creationId xmlns:a16="http://schemas.microsoft.com/office/drawing/2014/main" id="{6035CE78-5289-6657-5288-52484FD058D6}"/>
              </a:ext>
            </a:extLst>
          </p:cNvPr>
          <p:cNvSpPr/>
          <p:nvPr/>
        </p:nvSpPr>
        <p:spPr>
          <a:xfrm>
            <a:off x="7648353" y="3583944"/>
            <a:ext cx="2232837" cy="531628"/>
          </a:xfrm>
          <a:prstGeom prst="round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84 facilities</a:t>
            </a:r>
          </a:p>
          <a:p>
            <a:pPr algn="ctr"/>
            <a:r>
              <a:rPr lang="en-US" sz="1600"/>
              <a:t>(28 per domain)</a:t>
            </a:r>
          </a:p>
        </p:txBody>
      </p:sp>
      <p:grpSp>
        <p:nvGrpSpPr>
          <p:cNvPr id="3" name="Group 2">
            <a:extLst>
              <a:ext uri="{FF2B5EF4-FFF2-40B4-BE49-F238E27FC236}">
                <a16:creationId xmlns:a16="http://schemas.microsoft.com/office/drawing/2014/main" id="{BC77A690-4C39-4C24-5C46-5C27FE8C2AD6}"/>
              </a:ext>
            </a:extLst>
          </p:cNvPr>
          <p:cNvGrpSpPr/>
          <p:nvPr/>
        </p:nvGrpSpPr>
        <p:grpSpPr>
          <a:xfrm>
            <a:off x="5887779" y="4236686"/>
            <a:ext cx="6097773" cy="382772"/>
            <a:chOff x="6830913" y="4263667"/>
            <a:chExt cx="4072975" cy="382772"/>
          </a:xfrm>
        </p:grpSpPr>
        <p:sp>
          <p:nvSpPr>
            <p:cNvPr id="21" name="Rectangle 20">
              <a:extLst>
                <a:ext uri="{FF2B5EF4-FFF2-40B4-BE49-F238E27FC236}">
                  <a16:creationId xmlns:a16="http://schemas.microsoft.com/office/drawing/2014/main" id="{6A88EC27-454D-067D-F8D7-42E328162711}"/>
                </a:ext>
              </a:extLst>
            </p:cNvPr>
            <p:cNvSpPr/>
            <p:nvPr/>
          </p:nvSpPr>
          <p:spPr>
            <a:xfrm>
              <a:off x="6830913" y="4263667"/>
              <a:ext cx="1280160" cy="382772"/>
            </a:xfrm>
            <a:prstGeom prst="rect">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400">
                  <a:latin typeface="+mj-lt"/>
                </a:rPr>
                <a:t>Primary</a:t>
              </a:r>
            </a:p>
          </p:txBody>
        </p:sp>
        <p:sp>
          <p:nvSpPr>
            <p:cNvPr id="22" name="Rectangle 21">
              <a:extLst>
                <a:ext uri="{FF2B5EF4-FFF2-40B4-BE49-F238E27FC236}">
                  <a16:creationId xmlns:a16="http://schemas.microsoft.com/office/drawing/2014/main" id="{BCD68B12-92BD-64D5-5F09-3F962E23BD04}"/>
                </a:ext>
              </a:extLst>
            </p:cNvPr>
            <p:cNvSpPr/>
            <p:nvPr/>
          </p:nvSpPr>
          <p:spPr>
            <a:xfrm>
              <a:off x="8227320" y="4263667"/>
              <a:ext cx="1280160" cy="382772"/>
            </a:xfrm>
            <a:prstGeom prst="rect">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400">
                  <a:latin typeface="+mj-lt"/>
                </a:rPr>
                <a:t>Secondary</a:t>
              </a:r>
            </a:p>
          </p:txBody>
        </p:sp>
        <p:sp>
          <p:nvSpPr>
            <p:cNvPr id="23" name="Rectangle 22">
              <a:extLst>
                <a:ext uri="{FF2B5EF4-FFF2-40B4-BE49-F238E27FC236}">
                  <a16:creationId xmlns:a16="http://schemas.microsoft.com/office/drawing/2014/main" id="{9229EA27-0156-33CB-B769-5F6176C4CF03}"/>
                </a:ext>
              </a:extLst>
            </p:cNvPr>
            <p:cNvSpPr/>
            <p:nvPr/>
          </p:nvSpPr>
          <p:spPr>
            <a:xfrm>
              <a:off x="9623728" y="4263667"/>
              <a:ext cx="1280160" cy="382772"/>
            </a:xfrm>
            <a:prstGeom prst="rect">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400">
                  <a:latin typeface="+mj-lt"/>
                </a:rPr>
                <a:t>Tertiary</a:t>
              </a:r>
            </a:p>
          </p:txBody>
        </p:sp>
      </p:grpSp>
      <p:sp>
        <p:nvSpPr>
          <p:cNvPr id="24" name="Rectangle 23">
            <a:extLst>
              <a:ext uri="{FF2B5EF4-FFF2-40B4-BE49-F238E27FC236}">
                <a16:creationId xmlns:a16="http://schemas.microsoft.com/office/drawing/2014/main" id="{2EBA8B27-81D1-57AE-60D2-0651746472A8}"/>
              </a:ext>
            </a:extLst>
          </p:cNvPr>
          <p:cNvSpPr/>
          <p:nvPr/>
        </p:nvSpPr>
        <p:spPr>
          <a:xfrm>
            <a:off x="1025919" y="1924493"/>
            <a:ext cx="1998921" cy="712392"/>
          </a:xfrm>
          <a:prstGeom prst="rect">
            <a:avLst/>
          </a:prstGeom>
          <a:ln w="28575">
            <a:solidFill>
              <a:schemeClr val="tx1"/>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US" b="1"/>
              <a:t>Master Facility List</a:t>
            </a:r>
          </a:p>
        </p:txBody>
      </p:sp>
      <p:cxnSp>
        <p:nvCxnSpPr>
          <p:cNvPr id="15" name="Straight Arrow Connector 14">
            <a:extLst>
              <a:ext uri="{FF2B5EF4-FFF2-40B4-BE49-F238E27FC236}">
                <a16:creationId xmlns:a16="http://schemas.microsoft.com/office/drawing/2014/main" id="{0BC6C19D-5EC0-D9A9-02E0-D8A0DE8ADEB4}"/>
              </a:ext>
            </a:extLst>
          </p:cNvPr>
          <p:cNvCxnSpPr>
            <a:stCxn id="13" idx="2"/>
          </p:cNvCxnSpPr>
          <p:nvPr/>
        </p:nvCxnSpPr>
        <p:spPr>
          <a:xfrm flipH="1">
            <a:off x="3030279" y="2955862"/>
            <a:ext cx="2849526" cy="58479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9C55273E-2308-84F0-FE82-38B9F0CF7A75}"/>
              </a:ext>
            </a:extLst>
          </p:cNvPr>
          <p:cNvCxnSpPr>
            <a:cxnSpLocks/>
          </p:cNvCxnSpPr>
          <p:nvPr/>
        </p:nvCxnSpPr>
        <p:spPr>
          <a:xfrm>
            <a:off x="5879804" y="2960627"/>
            <a:ext cx="2700670" cy="590659"/>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BDDA9DF9-0C46-5FB4-1A7E-BA91C29D8FCB}"/>
              </a:ext>
            </a:extLst>
          </p:cNvPr>
          <p:cNvCxnSpPr>
            <a:stCxn id="24" idx="3"/>
            <a:endCxn id="13" idx="1"/>
          </p:cNvCxnSpPr>
          <p:nvPr/>
        </p:nvCxnSpPr>
        <p:spPr>
          <a:xfrm>
            <a:off x="3024840" y="2280689"/>
            <a:ext cx="1929932" cy="356197"/>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sp>
        <p:nvSpPr>
          <p:cNvPr id="13" name="Rounded Rectangle 12">
            <a:extLst>
              <a:ext uri="{FF2B5EF4-FFF2-40B4-BE49-F238E27FC236}">
                <a16:creationId xmlns:a16="http://schemas.microsoft.com/office/drawing/2014/main" id="{F2FA0DBD-2333-50BC-72F5-7742A6F5BCBF}"/>
              </a:ext>
            </a:extLst>
          </p:cNvPr>
          <p:cNvSpPr/>
          <p:nvPr/>
        </p:nvSpPr>
        <p:spPr>
          <a:xfrm>
            <a:off x="4954772" y="2317909"/>
            <a:ext cx="1850065" cy="637953"/>
          </a:xfrm>
          <a:prstGeom prst="round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t>120 facilities</a:t>
            </a:r>
          </a:p>
        </p:txBody>
      </p:sp>
      <p:sp>
        <p:nvSpPr>
          <p:cNvPr id="7" name="Slide Number Placeholder 1">
            <a:extLst>
              <a:ext uri="{FF2B5EF4-FFF2-40B4-BE49-F238E27FC236}">
                <a16:creationId xmlns:a16="http://schemas.microsoft.com/office/drawing/2014/main" id="{4F007348-18E8-29AF-5203-54D7DDF2A4BC}"/>
              </a:ext>
            </a:extLst>
          </p:cNvPr>
          <p:cNvSpPr txBox="1">
            <a:spLocks/>
          </p:cNvSpPr>
          <p:nvPr/>
        </p:nvSpPr>
        <p:spPr>
          <a:xfrm>
            <a:off x="11087100" y="6356350"/>
            <a:ext cx="897300" cy="36512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2BE927-25C7-4379-86F1-C17ED9D2A7F2}" type="slidenum">
              <a:rPr lang="en-US" smtClean="0"/>
              <a:pPr/>
              <a:t>8</a:t>
            </a:fld>
            <a:endParaRPr lang="en-US"/>
          </a:p>
        </p:txBody>
      </p:sp>
    </p:spTree>
    <p:extLst>
      <p:ext uri="{BB962C8B-B14F-4D97-AF65-F5344CB8AC3E}">
        <p14:creationId xmlns:p14="http://schemas.microsoft.com/office/powerpoint/2010/main" val="1252883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62D24E0-005A-9D57-A252-A23B368C38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762D24E0-005A-9D57-A252-A23B368C38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F3C0E2C-2176-976B-82D5-8F154A21F0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7" name="Title 6">
            <a:extLst>
              <a:ext uri="{FF2B5EF4-FFF2-40B4-BE49-F238E27FC236}">
                <a16:creationId xmlns:a16="http://schemas.microsoft.com/office/drawing/2014/main" id="{6F0C92F7-3A34-76D5-51E2-98495066DA33}"/>
              </a:ext>
            </a:extLst>
          </p:cNvPr>
          <p:cNvSpPr>
            <a:spLocks noGrp="1"/>
          </p:cNvSpPr>
          <p:nvPr>
            <p:ph type="title"/>
          </p:nvPr>
        </p:nvSpPr>
        <p:spPr>
          <a:xfrm>
            <a:off x="360001" y="169417"/>
            <a:ext cx="11471639" cy="468000"/>
          </a:xfrm>
        </p:spPr>
        <p:txBody>
          <a:bodyPr vert="horz"/>
          <a:lstStyle/>
          <a:p>
            <a:r>
              <a:rPr lang="en-US"/>
              <a:t>Before data collection, several activities planned to ensure data quality during data collection</a:t>
            </a:r>
          </a:p>
        </p:txBody>
      </p:sp>
      <p:sp>
        <p:nvSpPr>
          <p:cNvPr id="8" name="Text Placeholder 7">
            <a:extLst>
              <a:ext uri="{FF2B5EF4-FFF2-40B4-BE49-F238E27FC236}">
                <a16:creationId xmlns:a16="http://schemas.microsoft.com/office/drawing/2014/main" id="{75AD4BEF-B315-22B0-3E68-BDDA3B7C42CF}"/>
              </a:ext>
            </a:extLst>
          </p:cNvPr>
          <p:cNvSpPr>
            <a:spLocks noGrp="1"/>
          </p:cNvSpPr>
          <p:nvPr>
            <p:ph type="body" sz="quarter" idx="13"/>
          </p:nvPr>
        </p:nvSpPr>
        <p:spPr>
          <a:xfrm>
            <a:off x="359640" y="1103333"/>
            <a:ext cx="11471999" cy="468000"/>
          </a:xfrm>
        </p:spPr>
        <p:txBody>
          <a:bodyPr/>
          <a:lstStyle/>
          <a:p>
            <a:r>
              <a:rPr lang="en-US" sz="2400" i="1"/>
              <a:t>Activities including translation of questionnaire, pre-pilot, recruitment of qualified enumerators, rigorous trainings planned before data collection</a:t>
            </a:r>
          </a:p>
        </p:txBody>
      </p:sp>
      <p:pic>
        <p:nvPicPr>
          <p:cNvPr id="11" name="Picture 10">
            <a:extLst>
              <a:ext uri="{FF2B5EF4-FFF2-40B4-BE49-F238E27FC236}">
                <a16:creationId xmlns:a16="http://schemas.microsoft.com/office/drawing/2014/main" id="{3E286B9A-D273-3D00-D89A-6F9EFC527861}"/>
              </a:ext>
            </a:extLst>
          </p:cNvPr>
          <p:cNvPicPr>
            <a:picLocks noChangeAspect="1"/>
          </p:cNvPicPr>
          <p:nvPr/>
        </p:nvPicPr>
        <p:blipFill rotWithShape="1">
          <a:blip r:embed="rId5"/>
          <a:srcRect b="14345"/>
          <a:stretch/>
        </p:blipFill>
        <p:spPr>
          <a:xfrm>
            <a:off x="180982" y="3710782"/>
            <a:ext cx="1066824" cy="913787"/>
          </a:xfrm>
          <a:prstGeom prst="rect">
            <a:avLst/>
          </a:prstGeom>
        </p:spPr>
      </p:pic>
      <p:pic>
        <p:nvPicPr>
          <p:cNvPr id="12" name="Picture 11">
            <a:extLst>
              <a:ext uri="{FF2B5EF4-FFF2-40B4-BE49-F238E27FC236}">
                <a16:creationId xmlns:a16="http://schemas.microsoft.com/office/drawing/2014/main" id="{0DCEF6E0-BBD4-0D14-BFBF-4C1F5D2C9F33}"/>
              </a:ext>
            </a:extLst>
          </p:cNvPr>
          <p:cNvPicPr>
            <a:picLocks noChangeAspect="1"/>
          </p:cNvPicPr>
          <p:nvPr/>
        </p:nvPicPr>
        <p:blipFill rotWithShape="1">
          <a:blip r:embed="rId6"/>
          <a:srcRect b="15556"/>
          <a:stretch/>
        </p:blipFill>
        <p:spPr>
          <a:xfrm>
            <a:off x="132077" y="5244723"/>
            <a:ext cx="1082117" cy="913788"/>
          </a:xfrm>
          <a:prstGeom prst="rect">
            <a:avLst/>
          </a:prstGeom>
        </p:spPr>
      </p:pic>
      <p:pic>
        <p:nvPicPr>
          <p:cNvPr id="14" name="Picture 13">
            <a:extLst>
              <a:ext uri="{FF2B5EF4-FFF2-40B4-BE49-F238E27FC236}">
                <a16:creationId xmlns:a16="http://schemas.microsoft.com/office/drawing/2014/main" id="{68D3AAEE-57CC-1C9E-0194-8C10FECC05E2}"/>
              </a:ext>
            </a:extLst>
          </p:cNvPr>
          <p:cNvPicPr>
            <a:picLocks noChangeAspect="1"/>
          </p:cNvPicPr>
          <p:nvPr/>
        </p:nvPicPr>
        <p:blipFill rotWithShape="1">
          <a:blip r:embed="rId7"/>
          <a:srcRect b="14411"/>
          <a:stretch/>
        </p:blipFill>
        <p:spPr>
          <a:xfrm>
            <a:off x="184221" y="2143602"/>
            <a:ext cx="1082117" cy="926168"/>
          </a:xfrm>
          <a:prstGeom prst="rect">
            <a:avLst/>
          </a:prstGeom>
        </p:spPr>
      </p:pic>
      <p:sp>
        <p:nvSpPr>
          <p:cNvPr id="15" name="Rectangle 14">
            <a:extLst>
              <a:ext uri="{FF2B5EF4-FFF2-40B4-BE49-F238E27FC236}">
                <a16:creationId xmlns:a16="http://schemas.microsoft.com/office/drawing/2014/main" id="{433CFE74-C7AF-35B0-EC2A-35B3FD130F51}"/>
              </a:ext>
            </a:extLst>
          </p:cNvPr>
          <p:cNvSpPr/>
          <p:nvPr/>
        </p:nvSpPr>
        <p:spPr>
          <a:xfrm>
            <a:off x="1380744" y="2164957"/>
            <a:ext cx="2075688" cy="904813"/>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Questionnaire testing</a:t>
            </a:r>
          </a:p>
        </p:txBody>
      </p:sp>
      <p:sp>
        <p:nvSpPr>
          <p:cNvPr id="16" name="Rectangle 15">
            <a:extLst>
              <a:ext uri="{FF2B5EF4-FFF2-40B4-BE49-F238E27FC236}">
                <a16:creationId xmlns:a16="http://schemas.microsoft.com/office/drawing/2014/main" id="{8477624A-FFBE-9355-B242-A93A16D95AFB}"/>
              </a:ext>
            </a:extLst>
          </p:cNvPr>
          <p:cNvSpPr/>
          <p:nvPr/>
        </p:nvSpPr>
        <p:spPr>
          <a:xfrm>
            <a:off x="1351764" y="3696054"/>
            <a:ext cx="2075688" cy="997294"/>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Recruitment</a:t>
            </a:r>
          </a:p>
        </p:txBody>
      </p:sp>
      <p:sp>
        <p:nvSpPr>
          <p:cNvPr id="17" name="Rectangle 16">
            <a:extLst>
              <a:ext uri="{FF2B5EF4-FFF2-40B4-BE49-F238E27FC236}">
                <a16:creationId xmlns:a16="http://schemas.microsoft.com/office/drawing/2014/main" id="{BFB2D45E-4142-E85C-16D5-0B3092A2045A}"/>
              </a:ext>
            </a:extLst>
          </p:cNvPr>
          <p:cNvSpPr/>
          <p:nvPr/>
        </p:nvSpPr>
        <p:spPr>
          <a:xfrm>
            <a:off x="1380744" y="5219473"/>
            <a:ext cx="2075688" cy="1070388"/>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Training</a:t>
            </a:r>
          </a:p>
        </p:txBody>
      </p:sp>
      <p:sp>
        <p:nvSpPr>
          <p:cNvPr id="19" name="TextBox 18">
            <a:extLst>
              <a:ext uri="{FF2B5EF4-FFF2-40B4-BE49-F238E27FC236}">
                <a16:creationId xmlns:a16="http://schemas.microsoft.com/office/drawing/2014/main" id="{400D7015-4FA6-39AD-D1D9-DC1C1D2E8781}"/>
              </a:ext>
            </a:extLst>
          </p:cNvPr>
          <p:cNvSpPr txBox="1"/>
          <p:nvPr/>
        </p:nvSpPr>
        <p:spPr>
          <a:xfrm>
            <a:off x="3789532" y="1890274"/>
            <a:ext cx="8091743" cy="1477328"/>
          </a:xfrm>
          <a:prstGeom prst="rect">
            <a:avLst/>
          </a:prstGeom>
          <a:noFill/>
          <a:ln>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ranslations of the questionnaire in local langua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esting the questionnaire on the digital platform (e.g. Survey CT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re-pilot to be conducted in 2-4 facilities to test the questionnaire on fie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Provide feedback to Global Fund team based on pre-pilot to refine questionnaire</a:t>
            </a:r>
          </a:p>
        </p:txBody>
      </p:sp>
      <p:sp>
        <p:nvSpPr>
          <p:cNvPr id="20" name="TextBox 19">
            <a:extLst>
              <a:ext uri="{FF2B5EF4-FFF2-40B4-BE49-F238E27FC236}">
                <a16:creationId xmlns:a16="http://schemas.microsoft.com/office/drawing/2014/main" id="{8D5CFC3E-3F36-4234-3064-8CFD86E29E06}"/>
              </a:ext>
            </a:extLst>
          </p:cNvPr>
          <p:cNvSpPr txBox="1"/>
          <p:nvPr/>
        </p:nvSpPr>
        <p:spPr>
          <a:xfrm>
            <a:off x="3789532" y="3429000"/>
            <a:ext cx="8091743" cy="1477328"/>
          </a:xfrm>
          <a:prstGeom prst="rect">
            <a:avLst/>
          </a:prstGeom>
          <a:noFill/>
          <a:ln>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numerator </a:t>
            </a:r>
            <a:r>
              <a:rPr kumimoji="0" lang="en-US" sz="1800" b="1" i="0" u="none" strike="noStrike" kern="1200" cap="none" spc="0" normalizeH="0" baseline="0" noProof="0">
                <a:ln>
                  <a:noFill/>
                </a:ln>
                <a:solidFill>
                  <a:prstClr val="black"/>
                </a:solidFill>
                <a:effectLst/>
                <a:uLnTx/>
                <a:uFillTx/>
                <a:latin typeface="Arial"/>
                <a:ea typeface="+mn-ea"/>
                <a:cs typeface="+mn-cs"/>
              </a:rPr>
              <a:t>recruitment guidelines agreed with Global Fund </a:t>
            </a:r>
            <a:r>
              <a:rPr kumimoji="0" lang="en-US" sz="1800" b="0" i="0" u="none" strike="noStrike" kern="1200" cap="none" spc="0" normalizeH="0" baseline="0" noProof="0">
                <a:ln>
                  <a:noFill/>
                </a:ln>
                <a:solidFill>
                  <a:prstClr val="black"/>
                </a:solidFill>
                <a:effectLst/>
                <a:uLnTx/>
                <a:uFillTx/>
                <a:latin typeface="Arial"/>
                <a:ea typeface="+mn-ea"/>
                <a:cs typeface="+mn-cs"/>
              </a:rPr>
              <a:t>will be followed (slide 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SPs will share the final </a:t>
            </a:r>
            <a:r>
              <a:rPr kumimoji="0" lang="en-US" sz="1800" b="1" i="0" u="none" strike="noStrike" kern="1200" cap="none" spc="0" normalizeH="0" baseline="0" noProof="0">
                <a:ln>
                  <a:noFill/>
                </a:ln>
                <a:solidFill>
                  <a:prstClr val="black"/>
                </a:solidFill>
                <a:effectLst/>
                <a:uLnTx/>
                <a:uFillTx/>
                <a:latin typeface="Arial"/>
                <a:ea typeface="+mn-ea"/>
                <a:cs typeface="+mn-cs"/>
              </a:rPr>
              <a:t>roster of enumerators with qualifications and experience details</a:t>
            </a:r>
            <a:r>
              <a:rPr kumimoji="0" lang="en-US" sz="1800" b="0" i="0" u="none" strike="noStrike" kern="1200" cap="none" spc="0" normalizeH="0" baseline="0" noProof="0">
                <a:ln>
                  <a:noFill/>
                </a:ln>
                <a:solidFill>
                  <a:prstClr val="black"/>
                </a:solidFill>
                <a:effectLst/>
                <a:uLnTx/>
                <a:uFillTx/>
                <a:latin typeface="Arial"/>
                <a:ea typeface="+mn-ea"/>
                <a:cs typeface="+mn-cs"/>
              </a:rPr>
              <a:t> of the survey te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lear directions on </a:t>
            </a:r>
            <a:r>
              <a:rPr kumimoji="0" lang="en-US" sz="1800" b="1" i="0" u="none" strike="noStrike" kern="1200" cap="none" spc="0" normalizeH="0" baseline="0" noProof="0">
                <a:ln>
                  <a:noFill/>
                </a:ln>
                <a:solidFill>
                  <a:prstClr val="black"/>
                </a:solidFill>
                <a:effectLst/>
                <a:uLnTx/>
                <a:uFillTx/>
                <a:latin typeface="Arial"/>
                <a:ea typeface="+mn-ea"/>
                <a:cs typeface="+mn-cs"/>
              </a:rPr>
              <a:t>team member roles and responsibilities</a:t>
            </a: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1594E0C4-E832-92D7-46C7-3E1AEDB5AC79}"/>
              </a:ext>
            </a:extLst>
          </p:cNvPr>
          <p:cNvSpPr txBox="1"/>
          <p:nvPr/>
        </p:nvSpPr>
        <p:spPr>
          <a:xfrm>
            <a:off x="3789532" y="4967726"/>
            <a:ext cx="8091743" cy="1754326"/>
          </a:xfrm>
          <a:prstGeom prst="rect">
            <a:avLst/>
          </a:prstGeom>
          <a:noFill/>
          <a:ln>
            <a:solidFill>
              <a:schemeClr val="tx1"/>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raining of the enumerators supported </a:t>
            </a:r>
            <a:r>
              <a:rPr kumimoji="0" lang="en-US" sz="1800" b="1" i="0" u="none" strike="noStrike" kern="1200" cap="none" spc="0" normalizeH="0" baseline="0" noProof="0">
                <a:ln>
                  <a:noFill/>
                </a:ln>
                <a:solidFill>
                  <a:prstClr val="black"/>
                </a:solidFill>
                <a:effectLst/>
                <a:uLnTx/>
                <a:uFillTx/>
                <a:latin typeface="Arial"/>
                <a:ea typeface="+mn-ea"/>
                <a:cs typeface="+mn-cs"/>
              </a:rPr>
              <a:t>with survey manual, field protocol manual and training mater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Pre- and post-training test for survey team</a:t>
            </a:r>
            <a:r>
              <a:rPr kumimoji="0" lang="en-US" sz="1800" b="0" i="0" u="none" strike="noStrike" kern="1200" cap="none" spc="0" normalizeH="0" baseline="0" noProof="0">
                <a:ln>
                  <a:noFill/>
                </a:ln>
                <a:solidFill>
                  <a:prstClr val="black"/>
                </a:solidFill>
                <a:effectLst/>
                <a:uLnTx/>
                <a:uFillTx/>
                <a:latin typeface="Arial"/>
                <a:ea typeface="+mn-ea"/>
                <a:cs typeface="+mn-cs"/>
              </a:rPr>
              <a:t>, results shared with TG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50000"/>
                  </a:prstClr>
                </a:solidFill>
                <a:effectLst/>
                <a:uLnTx/>
                <a:uFillTx/>
                <a:latin typeface="Arial" panose="020B0604020202020204"/>
                <a:ea typeface="+mn-ea"/>
                <a:cs typeface="+mn-cs"/>
              </a:rPr>
              <a:t>Conduct </a:t>
            </a:r>
            <a:r>
              <a:rPr kumimoji="0" lang="en-US" sz="1800" b="1" i="0" u="none" strike="noStrike" kern="1200" cap="none" spc="0" normalizeH="0" baseline="0" noProof="0">
                <a:ln>
                  <a:noFill/>
                </a:ln>
                <a:solidFill>
                  <a:prstClr val="black">
                    <a:lumMod val="50000"/>
                  </a:prstClr>
                </a:solidFill>
                <a:effectLst/>
                <a:uLnTx/>
                <a:uFillTx/>
                <a:latin typeface="Arial" panose="020B0604020202020204"/>
                <a:ea typeface="+mn-ea"/>
                <a:cs typeface="+mn-cs"/>
              </a:rPr>
              <a:t>dummy interviews and role plays </a:t>
            </a:r>
            <a:r>
              <a:rPr kumimoji="0" lang="en-US" sz="1800" b="0" i="0" u="none" strike="noStrike" kern="1200" cap="none" spc="0" normalizeH="0" baseline="0" noProof="0">
                <a:ln>
                  <a:noFill/>
                </a:ln>
                <a:solidFill>
                  <a:prstClr val="black">
                    <a:lumMod val="50000"/>
                  </a:prstClr>
                </a:solidFill>
                <a:effectLst/>
                <a:uLnTx/>
                <a:uFillTx/>
                <a:latin typeface="Arial" panose="020B0604020202020204"/>
                <a:ea typeface="+mn-ea"/>
                <a:cs typeface="+mn-cs"/>
              </a:rPr>
              <a:t>on the use of data tool</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Field training and false start with survey teams </a:t>
            </a:r>
            <a:r>
              <a:rPr kumimoji="0" lang="en-US" sz="1800" b="0" i="0" u="none" strike="noStrike" kern="1200" cap="none" spc="0" normalizeH="0" baseline="0" noProof="0">
                <a:ln>
                  <a:noFill/>
                </a:ln>
                <a:solidFill>
                  <a:prstClr val="black"/>
                </a:solidFill>
                <a:effectLst/>
                <a:uLnTx/>
                <a:uFillTx/>
                <a:latin typeface="Arial"/>
                <a:ea typeface="+mn-ea"/>
                <a:cs typeface="+mn-cs"/>
              </a:rPr>
              <a:t>to ensure training and direction provided by TGF team are followed. </a:t>
            </a:r>
          </a:p>
        </p:txBody>
      </p:sp>
    </p:spTree>
    <p:extLst>
      <p:ext uri="{BB962C8B-B14F-4D97-AF65-F5344CB8AC3E}">
        <p14:creationId xmlns:p14="http://schemas.microsoft.com/office/powerpoint/2010/main" val="3932391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 name="THINKCELLPRESENTATIONDONOTDELETE" val="&lt;?xml version=&quot;1.0&quot; encoding=&quot;UTF-16&quot; standalone=&quot;yes&quot;?&gt;&lt;root reqver=&quot;27037&quot;&gt;&lt;version val=&quot;329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09.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11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1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1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1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2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3.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NAME" val="ACET"/>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ANGLE" val="5"/>
</p:tagLst>
</file>

<file path=ppt/tags/tag145.xml><?xml version="1.0" encoding="utf-8"?>
<p:tagLst xmlns:a="http://schemas.openxmlformats.org/drawingml/2006/main" xmlns:r="http://schemas.openxmlformats.org/officeDocument/2006/relationships" xmlns:p="http://schemas.openxmlformats.org/presentationml/2006/main">
  <p:tag name="ANGLE" val="5"/>
</p:tagLst>
</file>

<file path=ppt/tags/tag146.xml><?xml version="1.0" encoding="utf-8"?>
<p:tagLst xmlns:a="http://schemas.openxmlformats.org/drawingml/2006/main" xmlns:r="http://schemas.openxmlformats.org/officeDocument/2006/relationships" xmlns:p="http://schemas.openxmlformats.org/presentationml/2006/main">
  <p:tag name="ANGLE" val="4"/>
</p:tagLst>
</file>

<file path=ppt/tags/tag147.xml><?xml version="1.0" encoding="utf-8"?>
<p:tagLst xmlns:a="http://schemas.openxmlformats.org/drawingml/2006/main" xmlns:r="http://schemas.openxmlformats.org/officeDocument/2006/relationships" xmlns:p="http://schemas.openxmlformats.org/presentationml/2006/main">
  <p:tag name="ANGLE" val="4"/>
</p:tagLst>
</file>

<file path=ppt/tags/tag148.xml><?xml version="1.0" encoding="utf-8"?>
<p:tagLst xmlns:a="http://schemas.openxmlformats.org/drawingml/2006/main" xmlns:r="http://schemas.openxmlformats.org/officeDocument/2006/relationships" xmlns:p="http://schemas.openxmlformats.org/presentationml/2006/main">
  <p:tag name="ANGLE" val="3"/>
</p:tagLst>
</file>

<file path=ppt/tags/tag149.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0.xml><?xml version="1.0" encoding="utf-8"?>
<p:tagLst xmlns:a="http://schemas.openxmlformats.org/drawingml/2006/main" xmlns:r="http://schemas.openxmlformats.org/officeDocument/2006/relationships" xmlns:p="http://schemas.openxmlformats.org/presentationml/2006/main">
  <p:tag name="ANGLE" val="2"/>
</p:tagLst>
</file>

<file path=ppt/tags/tag151.xml><?xml version="1.0" encoding="utf-8"?>
<p:tagLst xmlns:a="http://schemas.openxmlformats.org/drawingml/2006/main" xmlns:r="http://schemas.openxmlformats.org/officeDocument/2006/relationships" xmlns:p="http://schemas.openxmlformats.org/presentationml/2006/main">
  <p:tag name="ANGLE" val="2"/>
</p:tagLst>
</file>

<file path=ppt/tags/tag152.xml><?xml version="1.0" encoding="utf-8"?>
<p:tagLst xmlns:a="http://schemas.openxmlformats.org/drawingml/2006/main" xmlns:r="http://schemas.openxmlformats.org/officeDocument/2006/relationships" xmlns:p="http://schemas.openxmlformats.org/presentationml/2006/main">
  <p:tag name="ANGLE" val="1"/>
</p:tagLst>
</file>

<file path=ppt/tags/tag153.xml><?xml version="1.0" encoding="utf-8"?>
<p:tagLst xmlns:a="http://schemas.openxmlformats.org/drawingml/2006/main" xmlns:r="http://schemas.openxmlformats.org/officeDocument/2006/relationships" xmlns:p="http://schemas.openxmlformats.org/presentationml/2006/main">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7.xml><?xml version="1.0" encoding="utf-8"?>
<p:tagLst xmlns:a="http://schemas.openxmlformats.org/drawingml/2006/main" xmlns:r="http://schemas.openxmlformats.org/officeDocument/2006/relationships" xmlns:p="http://schemas.openxmlformats.org/presentationml/2006/main">
  <p:tag name="SHAPENAME" val="Subtitle"/>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0.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51.xml><?xml version="1.0" encoding="utf-8"?>
<p:tagLst xmlns:a="http://schemas.openxmlformats.org/drawingml/2006/main" xmlns:r="http://schemas.openxmlformats.org/officeDocument/2006/relationships" xmlns:p="http://schemas.openxmlformats.org/presentationml/2006/main">
  <p:tag name="GUIDESMEASURMENT" val="True"/>
</p:tagLst>
</file>

<file path=ppt/tags/tag252.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2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4.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5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68.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6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7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7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1.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2.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rJjj.Je65BYDJuT86666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GUIDESTITLESHAPE" val="True"/>
</p:tagLst>
</file>

<file path=ppt/tags/tag48.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9.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9.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GUIDESTITLESHAPE" val="True"/>
</p:tagLst>
</file>

<file path=ppt/tags/tag92.xml><?xml version="1.0" encoding="utf-8"?>
<p:tagLst xmlns:a="http://schemas.openxmlformats.org/drawingml/2006/main" xmlns:r="http://schemas.openxmlformats.org/officeDocument/2006/relationships" xmlns:p="http://schemas.openxmlformats.org/presentationml/2006/main">
  <p:tag name="GUIDESMEASURMENT" val="True"/>
</p:tagLst>
</file>

<file path=ppt/tags/tag93.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9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1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3.xml><?xml version="1.0" encoding="utf-8"?>
<a:theme xmlns:a="http://schemas.openxmlformats.org/drawingml/2006/main" name="2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4.xml><?xml version="1.0" encoding="utf-8"?>
<a:theme xmlns:a="http://schemas.openxmlformats.org/drawingml/2006/main" name="3_White">
  <a:themeElements>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fontScheme name="Custom">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E0C3D"/>
        </a:accent1>
        <a:accent2>
          <a:srgbClr val="2E4DF9"/>
        </a:accent2>
        <a:accent3>
          <a:srgbClr val="FAD90D"/>
        </a:accent3>
        <a:accent4>
          <a:srgbClr val="FC9B00"/>
        </a:accent4>
        <a:accent5>
          <a:srgbClr val="44CC36"/>
        </a:accent5>
        <a:accent6>
          <a:srgbClr val="8C29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6_OFF.potx" id="{3141AFE8-B2E1-43D5-9DDA-B139D5A7748A}" vid="{D3E2B1E5-239A-4D62-B9A7-A5D064ABC61D}"/>
    </a:ext>
  </a:extLst>
</a:theme>
</file>

<file path=ppt/theme/theme5.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010F27D-960A-4B5B-A17B-57401A512C7D}">
  <we:reference id="f1abd87f-a3ba-42fb-91d5-100000000000" version="1.0.0.6" store="EXCatalog" storeType="EXCatalog"/>
  <we:alternateReferences>
    <we:reference id="WA104380278" version="1.0.0.6"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0.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14.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documentContentValidatorConfiguration":{"enableDocumentContentValidator":false,"documentContentValidatorVersion":0},"elementsMetadata":[],"slideId":"637583062409887152","enableDocumentContentUpdater":true,"version":"1.10"}]]></TemplafySlideTemplateConfiguration>
</file>

<file path=customXml/item18.xml><?xml version="1.0" encoding="utf-8"?>
<ct:contentTypeSchema xmlns:ct="http://schemas.microsoft.com/office/2006/metadata/contentType" xmlns:ma="http://schemas.microsoft.com/office/2006/metadata/properties/metaAttributes" ct:_="" ma:_="" ma:contentTypeName="Document" ma:contentTypeID="0x01010047141C08D2377147AE884921457E4118" ma:contentTypeVersion="13" ma:contentTypeDescription="Create a new document." ma:contentTypeScope="" ma:versionID="068ddbfd91aef5bc744879205c9c74ee">
  <xsd:schema xmlns:xsd="http://www.w3.org/2001/XMLSchema" xmlns:xs="http://www.w3.org/2001/XMLSchema" xmlns:p="http://schemas.microsoft.com/office/2006/metadata/properties" xmlns:ns2="17933f9c-be11-4baa-a5a9-1ead26986908" xmlns:ns3="b5b3e28e-126a-4198-9176-7a9a4cddfa47" targetNamespace="http://schemas.microsoft.com/office/2006/metadata/properties" ma:root="true" ma:fieldsID="768592ea11a78aee58355b4ca81d3218" ns2:_="" ns3:_="">
    <xsd:import namespace="17933f9c-be11-4baa-a5a9-1ead26986908"/>
    <xsd:import namespace="b5b3e28e-126a-4198-9176-7a9a4cddfa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33f9c-be11-4baa-a5a9-1ead269869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b3e28e-126a-4198-9176-7a9a4cddfa4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66cc1a4-c817-4395-ab27-20c19dabb4d3}" ma:internalName="TaxCatchAll" ma:showField="CatchAllData" ma:web="b5b3e28e-126a-4198-9176-7a9a4cddfa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TemplateConfiguration><![CDATA[{"documentContentValidatorConfiguration":{"enableDocumentContentValidator":false,"documentContentValidatorVersion":0},"elementsMetadata":[],"slideId":"637583062410355965","enableDocumentContentUpdater":true,"version":"1.10"}]]></TemplafySlideTemplateConfiguration>
</file>

<file path=customXml/item25.xml><?xml version="1.0" encoding="utf-8"?>
<TemplafyTemplateConfiguration><![CDATA[{"elementsMetadata":[{"type":"shape","id":"75e29959-3882-4429-8714-44ba5bcf4f7a","elementConfiguration":{"inheritDimensions":"inheritWidth","binding":"Form.DocLang.Logo_horizontal","disableUpdates":false,"type":"image"}},{"type":"shape","id":"885f5805-58be-4ab0-a651-dab7ba2249a4","elementConfiguration":{"inheritDimensions":"inheritWidth","binding":"Form.DocLang.Logo_stacked_black","disableUpdates":false,"type":"image"}},{"type":"shape","id":"4d9b3a11-fbfa-4d52-b923-56265da5eff0","elementConfiguration":{"inheritDimensions":"inheritWidth","binding":"Form.DocLang.Logo_stacked_black","disableUpdates":false,"type":"image"}},{"type":"shape","id":"8acd1dfe-ca90-47a8-8b5e-5901a125b25c","elementConfiguration":{"inheritDimensions":"inheritWidth","binding":"Form.DocLang.Logo_stacked_black","disableUpdates":false,"type":"image"}},{"type":"shape","id":"68428251-c7c0-4d31-9e14-d98c662cd6b3","elementConfiguration":{"inheritDimensions":"inheritWidth","binding":"Form.DocLang.Logo_stacked_black","disableUpdates":false,"type":"image"}},{"type":"shape","id":"2996ed4c-ca9b-4443-911c-da4156efb094","elementConfiguration":{"inheritDimensions":"inheritWidth","binding":"Form.DocLang.Logo_stacked_black","disableUpdates":false,"type":"image"}},{"type":"shape","id":"e858da4f-aeff-4351-a888-4b335f815c8b","elementConfiguration":{"inheritDimensions":"inheritWidth","binding":"Form.DocLang.Logo_stacked_colour","disableUpdates":false,"type":"image"}},{"type":"shape","id":"48488bad-a84e-49c0-9a02-616a35022e17","elementConfiguration":{"inheritDimensions":"inheritWidth","binding":"Form.DocLang.Logo_stacked_black","disableUpdates":false,"type":"image"}},{"type":"shape","id":"c23c06be-f3c9-449c-a78d-1fe3586db483","elementConfiguration":{"inheritDimensions":"inheritWidth","binding":"Form.DocLang.Logo_stacked_colour","disableUpdates":false,"type":"image"}},{"type":"shape","id":"a45f3bc4-b0c6-48eb-8bac-da651050f0a5","elementConfiguration":{"inheritDimensions":"inheritWidth","binding":"Form.DocLang.Logo_stacked_white","disableUpdates":false,"type":"image"}},{"type":"shape","id":"b5eb3e21-d681-4032-9a1c-d6ce183302dc","elementConfiguration":{"inheritDimensions":"inheritWidth","binding":"Form.DocLang.Logo_stacked_black","disableUpdates":false,"type":"image"}},{"type":"shape","id":"3258589b-5309-4eb2-9b7d-be03ca973363","elementConfiguration":{"inheritDimensions":"inheritWidth","binding":"Form.DocLang.Logo_stacked_black","disableUpdates":false,"type":"image"}},{"type":"shape","id":"e104d76c-22dc-4d75-b30b-7aa3b21ade2f","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26.xml><?xml version="1.0" encoding="utf-8"?>
<TemplafySlideTemplateConfiguration><![CDATA[{"documentContentValidatorConfiguration":{"enableDocumentContentValidator":false,"documentContentValidatorVersion":0},"elementsMetadata":[],"slideId":"637583062410512162","enableDocumentContentUpdater":true,"version":"1.10"}]]></TemplafySlideTemplateConfiguration>
</file>

<file path=customXml/item27.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5.xml><?xml version="1.0" encoding="utf-8"?>
<TemplafySlideFormConfiguration><![CDATA[{"formFields":[],"formDataEntries":[]}]]></TemplafySlideFormConfiguration>
</file>

<file path=customXml/item6.xml><?xml version="1.0" encoding="utf-8"?>
<p:properties xmlns:p="http://schemas.microsoft.com/office/2006/metadata/properties" xmlns:xsi="http://www.w3.org/2001/XMLSchema-instance" xmlns:pc="http://schemas.microsoft.com/office/infopath/2007/PartnerControls">
  <documentManagement>
    <SharedWithUsers xmlns="b5b3e28e-126a-4198-9176-7a9a4cddfa47">
      <UserInfo>
        <DisplayName>Karen Zamboni</DisplayName>
        <AccountId>201</AccountId>
        <AccountType/>
      </UserInfo>
      <UserInfo>
        <DisplayName>Maud Rivoire</DisplayName>
        <AccountId>58</AccountId>
        <AccountType/>
      </UserInfo>
      <UserInfo>
        <DisplayName>Juliet Bryant - 2</DisplayName>
        <AccountId>150</AccountId>
        <AccountType/>
      </UserInfo>
      <UserInfo>
        <DisplayName>Toni Whistler</DisplayName>
        <AccountId>296</AccountId>
        <AccountType/>
      </UserInfo>
      <UserInfo>
        <DisplayName>Sandra Irbe</DisplayName>
        <AccountId>90</AccountId>
        <AccountType/>
      </UserInfo>
      <UserInfo>
        <DisplayName>Nalinee Sangrujee</DisplayName>
        <AccountId>278</AccountId>
        <AccountType/>
      </UserInfo>
      <UserInfo>
        <DisplayName>Ben Park</DisplayName>
        <AccountId>285</AccountId>
        <AccountType/>
      </UserInfo>
      <UserInfo>
        <DisplayName>Nicholas Oliphant</DisplayName>
        <AccountId>208</AccountId>
        <AccountType/>
      </UserInfo>
      <UserInfo>
        <DisplayName>Stephen Kimatu</DisplayName>
        <AccountId>311</AccountId>
        <AccountType/>
      </UserInfo>
      <UserInfo>
        <DisplayName>Dardane Arifaj</DisplayName>
        <AccountId>148</AccountId>
        <AccountType/>
      </UserInfo>
      <UserInfo>
        <DisplayName>Alain Prat</DisplayName>
        <AccountId>297</AccountId>
        <AccountType/>
      </UserInfo>
      <UserInfo>
        <DisplayName>Samira Hadana</DisplayName>
        <AccountId>12</AccountId>
        <AccountType/>
      </UserInfo>
      <UserInfo>
        <DisplayName>Sandrine Cloez</DisplayName>
        <AccountId>298</AccountId>
        <AccountType/>
      </UserInfo>
    </SharedWithUsers>
    <lcf76f155ced4ddcb4097134ff3c332f xmlns="17933f9c-be11-4baa-a5a9-1ead26986908">
      <Terms xmlns="http://schemas.microsoft.com/office/infopath/2007/PartnerControls"/>
    </lcf76f155ced4ddcb4097134ff3c332f>
    <TaxCatchAll xmlns="b5b3e28e-126a-4198-9176-7a9a4cddfa47" xsi:nil="true"/>
  </documentManagement>
</p:properties>
</file>

<file path=customXml/item7.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8.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9C9A752C-E6C9-4C94-971E-84800D4F5CD0}">
  <ds:schemaRefs/>
</ds:datastoreItem>
</file>

<file path=customXml/itemProps10.xml><?xml version="1.0" encoding="utf-8"?>
<ds:datastoreItem xmlns:ds="http://schemas.openxmlformats.org/officeDocument/2006/customXml" ds:itemID="{41B18765-8E8D-4975-B4C8-58FD9CE4991F}">
  <ds:schemaRefs/>
</ds:datastoreItem>
</file>

<file path=customXml/itemProps11.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12.xml><?xml version="1.0" encoding="utf-8"?>
<ds:datastoreItem xmlns:ds="http://schemas.openxmlformats.org/officeDocument/2006/customXml" ds:itemID="{0843F014-F63A-4A96-9A81-8149A20DC8DB}">
  <ds:schemaRefs/>
</ds:datastoreItem>
</file>

<file path=customXml/itemProps13.xml><?xml version="1.0" encoding="utf-8"?>
<ds:datastoreItem xmlns:ds="http://schemas.openxmlformats.org/officeDocument/2006/customXml" ds:itemID="{9EE5938A-8A9F-41E8-AE0F-A4A9DF5A4410}">
  <ds:schemaRefs/>
</ds:datastoreItem>
</file>

<file path=customXml/itemProps14.xml><?xml version="1.0" encoding="utf-8"?>
<ds:datastoreItem xmlns:ds="http://schemas.openxmlformats.org/officeDocument/2006/customXml" ds:itemID="{97513F1A-EDB8-452C-B31A-823AACC67C43}">
  <ds:schemaRefs/>
</ds:datastoreItem>
</file>

<file path=customXml/itemProps15.xml><?xml version="1.0" encoding="utf-8"?>
<ds:datastoreItem xmlns:ds="http://schemas.openxmlformats.org/officeDocument/2006/customXml" ds:itemID="{397103EF-FE04-4DFC-92E5-E605C2E06E58}">
  <ds:schemaRefs/>
</ds:datastoreItem>
</file>

<file path=customXml/itemProps16.xml><?xml version="1.0" encoding="utf-8"?>
<ds:datastoreItem xmlns:ds="http://schemas.openxmlformats.org/officeDocument/2006/customXml" ds:itemID="{DFE7971E-E660-419C-B6B9-385840446D67}">
  <ds:schemaRefs/>
</ds:datastoreItem>
</file>

<file path=customXml/itemProps17.xml><?xml version="1.0" encoding="utf-8"?>
<ds:datastoreItem xmlns:ds="http://schemas.openxmlformats.org/officeDocument/2006/customXml" ds:itemID="{F6A79B5E-9EDA-4A74-8918-4D6A727F126A}">
  <ds:schemaRefs/>
</ds:datastoreItem>
</file>

<file path=customXml/itemProps18.xml><?xml version="1.0" encoding="utf-8"?>
<ds:datastoreItem xmlns:ds="http://schemas.openxmlformats.org/officeDocument/2006/customXml" ds:itemID="{462FFB4A-6D11-4C45-89FF-9BCE9110B3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933f9c-be11-4baa-a5a9-1ead26986908"/>
    <ds:schemaRef ds:uri="b5b3e28e-126a-4198-9176-7a9a4cddfa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29AE7D6C-4B79-424C-B40C-0C1EA6DAFBA2}">
  <ds:schemaRefs/>
</ds:datastoreItem>
</file>

<file path=customXml/itemProps2.xml><?xml version="1.0" encoding="utf-8"?>
<ds:datastoreItem xmlns:ds="http://schemas.openxmlformats.org/officeDocument/2006/customXml" ds:itemID="{BCC0A21A-5483-43DF-BD28-110E4E8C22C8}">
  <ds:schemaRefs/>
</ds:datastoreItem>
</file>

<file path=customXml/itemProps20.xml><?xml version="1.0" encoding="utf-8"?>
<ds:datastoreItem xmlns:ds="http://schemas.openxmlformats.org/officeDocument/2006/customXml" ds:itemID="{B7256D98-D766-458C-AFFB-EF4134177978}">
  <ds:schemaRefs/>
</ds:datastoreItem>
</file>

<file path=customXml/itemProps21.xml><?xml version="1.0" encoding="utf-8"?>
<ds:datastoreItem xmlns:ds="http://schemas.openxmlformats.org/officeDocument/2006/customXml" ds:itemID="{42E67A68-7568-46F5-9D84-9883C9524B6F}">
  <ds:schemaRefs/>
</ds:datastoreItem>
</file>

<file path=customXml/itemProps22.xml><?xml version="1.0" encoding="utf-8"?>
<ds:datastoreItem xmlns:ds="http://schemas.openxmlformats.org/officeDocument/2006/customXml" ds:itemID="{440C306E-45CA-4929-ADF0-D056F1ECBF75}">
  <ds:schemaRefs/>
</ds:datastoreItem>
</file>

<file path=customXml/itemProps23.xml><?xml version="1.0" encoding="utf-8"?>
<ds:datastoreItem xmlns:ds="http://schemas.openxmlformats.org/officeDocument/2006/customXml" ds:itemID="{99DF1B51-39D2-49C2-90A6-49419C8EC480}">
  <ds:schemaRefs/>
</ds:datastoreItem>
</file>

<file path=customXml/itemProps24.xml><?xml version="1.0" encoding="utf-8"?>
<ds:datastoreItem xmlns:ds="http://schemas.openxmlformats.org/officeDocument/2006/customXml" ds:itemID="{EDDC3791-9401-406A-9496-BF52CAD8C740}">
  <ds:schemaRefs/>
</ds:datastoreItem>
</file>

<file path=customXml/itemProps25.xml><?xml version="1.0" encoding="utf-8"?>
<ds:datastoreItem xmlns:ds="http://schemas.openxmlformats.org/officeDocument/2006/customXml" ds:itemID="{24B83C46-1F1A-4859-B726-FAA3C0298E1C}">
  <ds:schemaRefs/>
</ds:datastoreItem>
</file>

<file path=customXml/itemProps26.xml><?xml version="1.0" encoding="utf-8"?>
<ds:datastoreItem xmlns:ds="http://schemas.openxmlformats.org/officeDocument/2006/customXml" ds:itemID="{35B88C32-8F00-40F4-B1FC-BE6389EF9DD2}">
  <ds:schemaRefs/>
</ds:datastoreItem>
</file>

<file path=customXml/itemProps27.xml><?xml version="1.0" encoding="utf-8"?>
<ds:datastoreItem xmlns:ds="http://schemas.openxmlformats.org/officeDocument/2006/customXml" ds:itemID="{10DF56B6-A6CD-4EA1-8CCD-682845BDDBFB}">
  <ds:schemaRefs/>
</ds:datastoreItem>
</file>

<file path=customXml/itemProps28.xml><?xml version="1.0" encoding="utf-8"?>
<ds:datastoreItem xmlns:ds="http://schemas.openxmlformats.org/officeDocument/2006/customXml" ds:itemID="{4362B91D-D5C0-4607-A66A-E4029484280F}">
  <ds:schemaRefs/>
</ds:datastoreItem>
</file>

<file path=customXml/itemProps29.xml><?xml version="1.0" encoding="utf-8"?>
<ds:datastoreItem xmlns:ds="http://schemas.openxmlformats.org/officeDocument/2006/customXml" ds:itemID="{A0FF239F-E6F6-4E6A-9CE4-631E3966DB1A}">
  <ds:schemaRefs/>
</ds:datastoreItem>
</file>

<file path=customXml/itemProps3.xml><?xml version="1.0" encoding="utf-8"?>
<ds:datastoreItem xmlns:ds="http://schemas.openxmlformats.org/officeDocument/2006/customXml" ds:itemID="{065B7E90-D4B4-42D4-882F-A9A584AD6B3C}">
  <ds:schemaRefs/>
</ds:datastoreItem>
</file>

<file path=customXml/itemProps4.xml><?xml version="1.0" encoding="utf-8"?>
<ds:datastoreItem xmlns:ds="http://schemas.openxmlformats.org/officeDocument/2006/customXml" ds:itemID="{9637CDD4-016D-4706-91CE-BEDB72C1CF7B}">
  <ds:schemaRefs/>
</ds:datastoreItem>
</file>

<file path=customXml/itemProps5.xml><?xml version="1.0" encoding="utf-8"?>
<ds:datastoreItem xmlns:ds="http://schemas.openxmlformats.org/officeDocument/2006/customXml" ds:itemID="{A4DE39FF-A9F8-4849-BA66-C5B610850F40}">
  <ds:schemaRefs/>
</ds:datastoreItem>
</file>

<file path=customXml/itemProps6.xml><?xml version="1.0" encoding="utf-8"?>
<ds:datastoreItem xmlns:ds="http://schemas.openxmlformats.org/officeDocument/2006/customXml" ds:itemID="{78C4199D-B32C-43FE-8FA0-D74E0A2A7557}">
  <ds:schemaRefs>
    <ds:schemaRef ds:uri="http://schemas.microsoft.com/office/2006/documentManagement/types"/>
    <ds:schemaRef ds:uri="http://purl.org/dc/elements/1.1/"/>
    <ds:schemaRef ds:uri="http://schemas.microsoft.com/office/infopath/2007/PartnerControls"/>
    <ds:schemaRef ds:uri="http://purl.org/dc/dcmitype/"/>
    <ds:schemaRef ds:uri="http://purl.org/dc/terms/"/>
    <ds:schemaRef ds:uri="17933f9c-be11-4baa-a5a9-1ead26986908"/>
    <ds:schemaRef ds:uri="http://schemas.openxmlformats.org/package/2006/metadata/core-properties"/>
    <ds:schemaRef ds:uri="b5b3e28e-126a-4198-9176-7a9a4cddfa47"/>
    <ds:schemaRef ds:uri="http://schemas.microsoft.com/office/2006/metadata/properties"/>
    <ds:schemaRef ds:uri="http://www.w3.org/XML/1998/namespace"/>
  </ds:schemaRefs>
</ds:datastoreItem>
</file>

<file path=customXml/itemProps7.xml><?xml version="1.0" encoding="utf-8"?>
<ds:datastoreItem xmlns:ds="http://schemas.openxmlformats.org/officeDocument/2006/customXml" ds:itemID="{3767200E-D1D8-4965-855E-9803E6657062}">
  <ds:schemaRefs/>
</ds:datastoreItem>
</file>

<file path=customXml/itemProps8.xml><?xml version="1.0" encoding="utf-8"?>
<ds:datastoreItem xmlns:ds="http://schemas.openxmlformats.org/officeDocument/2006/customXml" ds:itemID="{3D5471B5-2D37-4E43-AEC4-2BFD6E8DD8F9}">
  <ds:schemaRefs/>
</ds:datastoreItem>
</file>

<file path=customXml/itemProps9.xml><?xml version="1.0" encoding="utf-8"?>
<ds:datastoreItem xmlns:ds="http://schemas.openxmlformats.org/officeDocument/2006/customXml" ds:itemID="{9DD5DA6F-37EC-4303-94E7-CEB89028ED7F}">
  <ds:schemaRefs/>
</ds:datastoreItem>
</file>

<file path=docMetadata/LabelInfo.xml><?xml version="1.0" encoding="utf-8"?>
<clbl:labelList xmlns:clbl="http://schemas.microsoft.com/office/2020/mipLabelMetadata">
  <clbl:label id="{77920909-8782-4efb-aaf1-44ac114d7c03}" enabled="0" method="" siteId="{77920909-8782-4efb-aaf1-44ac114d7c03}" removed="1"/>
</clbl:labelList>
</file>

<file path=docProps/app.xml><?xml version="1.0" encoding="utf-8"?>
<Properties xmlns="http://schemas.openxmlformats.org/officeDocument/2006/extended-properties" xmlns:vt="http://schemas.openxmlformats.org/officeDocument/2006/docPropsVTypes">
  <Template>78BA2670</Template>
  <TotalTime>10337</TotalTime>
  <Words>2459</Words>
  <Application>Microsoft Office PowerPoint</Application>
  <PresentationFormat>Widescreen</PresentationFormat>
  <Paragraphs>377</Paragraphs>
  <Slides>24</Slides>
  <Notes>1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7" baseType="lpstr">
      <vt:lpstr>Abadi</vt:lpstr>
      <vt:lpstr>Arial</vt:lpstr>
      <vt:lpstr>Arial Black</vt:lpstr>
      <vt:lpstr>Bahnschrift</vt:lpstr>
      <vt:lpstr>Calibri</vt:lpstr>
      <vt:lpstr>Segoe UI</vt:lpstr>
      <vt:lpstr>Wingdings</vt:lpstr>
      <vt:lpstr>Office Theme</vt:lpstr>
      <vt:lpstr>1_Office Theme</vt:lpstr>
      <vt:lpstr>2_Office Theme</vt:lpstr>
      <vt:lpstr>3_White</vt:lpstr>
      <vt:lpstr>5_Office Theme</vt:lpstr>
      <vt:lpstr>think-cell Slide</vt:lpstr>
      <vt:lpstr>Targeted HFA Spot Checks </vt:lpstr>
      <vt:lpstr>Introduction</vt:lpstr>
      <vt:lpstr>Key tHFA sections with KPI and Non-KPI with broader message</vt:lpstr>
      <vt:lpstr> Table of Contents</vt:lpstr>
      <vt:lpstr>PowerPoint Presentation</vt:lpstr>
      <vt:lpstr>PowerPoint Presentation</vt:lpstr>
      <vt:lpstr>PowerPoint Presentation</vt:lpstr>
      <vt:lpstr>tHFA Sampling: 120 health facilities in each country</vt:lpstr>
      <vt:lpstr>Before data collection, several activities planned to ensure data quality during data collection</vt:lpstr>
      <vt:lpstr>In-field checks by SPs on Data Quality for Spot Check Round 4 and t-HFA Base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Global F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entine Adaiwo</dc:creator>
  <cp:lastModifiedBy>Seun Osonuga</cp:lastModifiedBy>
  <cp:revision>10</cp:revision>
  <dcterms:created xsi:type="dcterms:W3CDTF">2022-06-01T19:35:12Z</dcterms:created>
  <dcterms:modified xsi:type="dcterms:W3CDTF">2024-08-03T14:2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TemplafyTenantId">
    <vt:lpwstr>theglobalfund</vt:lpwstr>
  </property>
  <property fmtid="{D5CDD505-2E9C-101B-9397-08002B2CF9AE}" pid="5" name="TemplafyTemplateId">
    <vt:lpwstr>637578145338082095</vt:lpwstr>
  </property>
  <property fmtid="{D5CDD505-2E9C-101B-9397-08002B2CF9AE}" pid="6" name="TemplafyUserProfileId">
    <vt:lpwstr>637871572840144028</vt:lpwstr>
  </property>
  <property fmtid="{D5CDD505-2E9C-101B-9397-08002B2CF9AE}" pid="7" name="TemplafyLanguageCode">
    <vt:lpwstr>en-US</vt:lpwstr>
  </property>
  <property fmtid="{D5CDD505-2E9C-101B-9397-08002B2CF9AE}" pid="8" name="ContentTypeId">
    <vt:lpwstr>0x01010047141C08D2377147AE884921457E4118</vt:lpwstr>
  </property>
  <property fmtid="{D5CDD505-2E9C-101B-9397-08002B2CF9AE}" pid="9" name="MediaServiceImageTags">
    <vt:lpwstr/>
  </property>
</Properties>
</file>